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bookmarkIdSeed="3">
  <p:sldMasterIdLst>
    <p:sldMasterId id="2147484208" r:id="rId4"/>
    <p:sldMasterId id="2147484217" r:id="rId5"/>
    <p:sldMasterId id="2147484233" r:id="rId6"/>
  </p:sldMasterIdLst>
  <p:notesMasterIdLst>
    <p:notesMasterId r:id="rId14"/>
  </p:notesMasterIdLst>
  <p:handoutMasterIdLst>
    <p:handoutMasterId r:id="rId15"/>
  </p:handoutMasterIdLst>
  <p:sldIdLst>
    <p:sldId id="2147471588" r:id="rId7"/>
    <p:sldId id="271" r:id="rId8"/>
    <p:sldId id="347" r:id="rId9"/>
    <p:sldId id="313" r:id="rId10"/>
    <p:sldId id="2147471597" r:id="rId11"/>
    <p:sldId id="1162" r:id="rId12"/>
    <p:sldId id="297" r:id="rId13"/>
  </p:sldIdLst>
  <p:sldSz cx="12192000" cy="6858000"/>
  <p:notesSz cx="6738938" cy="9869488"/>
  <p:custDataLst>
    <p:tags r:id="rId16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9E1CD39-009C-4099-BB2B-904904B0E112}">
          <p14:sldIdLst>
            <p14:sldId id="2147471588"/>
            <p14:sldId id="271"/>
            <p14:sldId id="347"/>
            <p14:sldId id="313"/>
            <p14:sldId id="2147471597"/>
            <p14:sldId id="1162"/>
            <p14:sldId id="297"/>
          </p14:sldIdLst>
        </p14:section>
      </p14:sectionLst>
    </p:ext>
    <p:ext uri="{EFAFB233-063F-42B5-8137-9DF3F51BA10A}">
      <p15:sldGuideLst xmlns:p15="http://schemas.microsoft.com/office/powerpoint/2012/main">
        <p15:guide id="9" pos="7389" userDrawn="1">
          <p15:clr>
            <a:srgbClr val="A4A3A4"/>
          </p15:clr>
        </p15:guide>
        <p15:guide id="10" pos="272" userDrawn="1">
          <p15:clr>
            <a:srgbClr val="A4A3A4"/>
          </p15:clr>
        </p15:guide>
        <p15:guide id="11" orient="horz" pos="4088" userDrawn="1">
          <p15:clr>
            <a:srgbClr val="A4A3A4"/>
          </p15:clr>
        </p15:guide>
        <p15:guide id="12" pos="3499" userDrawn="1">
          <p15:clr>
            <a:srgbClr val="A4A3A4"/>
          </p15:clr>
        </p15:guide>
        <p15:guide id="13" orient="horz" pos="3135" userDrawn="1">
          <p15:clr>
            <a:srgbClr val="A4A3A4"/>
          </p15:clr>
        </p15:guide>
        <p15:guide id="14" pos="4989" userDrawn="1">
          <p15:clr>
            <a:srgbClr val="A4A3A4"/>
          </p15:clr>
        </p15:guide>
        <p15:guide id="15" pos="5896" userDrawn="1">
          <p15:clr>
            <a:srgbClr val="A4A3A4"/>
          </p15:clr>
        </p15:guide>
        <p15:guide id="16" orient="horz" pos="3861" userDrawn="1">
          <p15:clr>
            <a:srgbClr val="A4A3A4"/>
          </p15:clr>
        </p15:guide>
        <p15:guide id="17" orient="horz" pos="3226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2" userDrawn="1">
          <p15:clr>
            <a:srgbClr val="A4A3A4"/>
          </p15:clr>
        </p15:guide>
        <p15:guide id="2" pos="2122" userDrawn="1">
          <p15:clr>
            <a:srgbClr val="A4A3A4"/>
          </p15:clr>
        </p15:guide>
        <p15:guide id="3" orient="horz" pos="3109" userDrawn="1">
          <p15:clr>
            <a:srgbClr val="A4A3A4"/>
          </p15:clr>
        </p15:guide>
        <p15:guide id="4" pos="212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K" initials="RK" lastIdx="1" clrIdx="0"/>
  <p:cmAuthor id="1" name="Dauphin Roland" initials="DR" lastIdx="1" clrIdx="1">
    <p:extLst>
      <p:ext uri="{19B8F6BF-5375-455C-9EA6-DF929625EA0E}">
        <p15:presenceInfo xmlns:p15="http://schemas.microsoft.com/office/powerpoint/2012/main" userId="S-1-5-21-1966698847-1617421853-147862032-64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  <a:srgbClr val="59A6D5"/>
    <a:srgbClr val="C0C0C0"/>
    <a:srgbClr val="E47E00"/>
    <a:srgbClr val="A1E3F7"/>
    <a:srgbClr val="021EAA"/>
    <a:srgbClr val="DDDDDD"/>
    <a:srgbClr val="C9CACD"/>
    <a:srgbClr val="CBCBCB"/>
    <a:srgbClr val="C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70" autoAdjust="0"/>
    <p:restoredTop sz="95079" autoAdjust="0"/>
  </p:normalViewPr>
  <p:slideViewPr>
    <p:cSldViewPr snapToGrid="0">
      <p:cViewPr varScale="1">
        <p:scale>
          <a:sx n="74" d="100"/>
          <a:sy n="74" d="100"/>
        </p:scale>
        <p:origin x="400" y="56"/>
      </p:cViewPr>
      <p:guideLst>
        <p:guide pos="7389"/>
        <p:guide pos="272"/>
        <p:guide orient="horz" pos="4088"/>
        <p:guide pos="3499"/>
        <p:guide orient="horz" pos="3135"/>
        <p:guide pos="4989"/>
        <p:guide pos="5896"/>
        <p:guide orient="horz" pos="3861"/>
        <p:guide orient="horz" pos="3226"/>
        <p:guide orient="horz" pos="550"/>
      </p:guideLst>
    </p:cSldViewPr>
  </p:slideViewPr>
  <p:outlineViewPr>
    <p:cViewPr>
      <p:scale>
        <a:sx n="33" d="100"/>
        <a:sy n="33" d="100"/>
      </p:scale>
      <p:origin x="0" y="143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114" y="90"/>
      </p:cViewPr>
      <p:guideLst>
        <p:guide orient="horz" pos="3102"/>
        <p:guide pos="2122"/>
        <p:guide orient="horz" pos="3109"/>
        <p:guide pos="21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k Meyer" userId="7111b271-16eb-4681-9ad5-3d6b2e6ba5c6" providerId="ADAL" clId="{62D51965-40E3-4263-BD23-6C5618BE0EF5}"/>
    <pc:docChg chg="modSld">
      <pc:chgData name="Mark Meyer" userId="7111b271-16eb-4681-9ad5-3d6b2e6ba5c6" providerId="ADAL" clId="{62D51965-40E3-4263-BD23-6C5618BE0EF5}" dt="2025-08-26T08:51:33.244" v="2" actId="20577"/>
      <pc:docMkLst>
        <pc:docMk/>
      </pc:docMkLst>
      <pc:sldChg chg="modSp mod">
        <pc:chgData name="Mark Meyer" userId="7111b271-16eb-4681-9ad5-3d6b2e6ba5c6" providerId="ADAL" clId="{62D51965-40E3-4263-BD23-6C5618BE0EF5}" dt="2025-08-26T08:51:21.143" v="1" actId="20577"/>
        <pc:sldMkLst>
          <pc:docMk/>
          <pc:sldMk cId="0" sldId="2147471588"/>
        </pc:sldMkLst>
        <pc:spChg chg="mod">
          <ac:chgData name="Mark Meyer" userId="7111b271-16eb-4681-9ad5-3d6b2e6ba5c6" providerId="ADAL" clId="{62D51965-40E3-4263-BD23-6C5618BE0EF5}" dt="2025-08-26T08:51:21.143" v="1" actId="20577"/>
          <ac:spMkLst>
            <pc:docMk/>
            <pc:sldMk cId="0" sldId="2147471588"/>
            <ac:spMk id="5" creationId="{9BC49F10-AE9A-B048-AFD4-C1FAB54E081B}"/>
          </ac:spMkLst>
        </pc:spChg>
      </pc:sldChg>
      <pc:sldChg chg="modSp mod">
        <pc:chgData name="Mark Meyer" userId="7111b271-16eb-4681-9ad5-3d6b2e6ba5c6" providerId="ADAL" clId="{62D51965-40E3-4263-BD23-6C5618BE0EF5}" dt="2025-08-26T08:51:33.244" v="2" actId="20577"/>
        <pc:sldMkLst>
          <pc:docMk/>
          <pc:sldMk cId="3791477679" sldId="2147471597"/>
        </pc:sldMkLst>
        <pc:spChg chg="mod">
          <ac:chgData name="Mark Meyer" userId="7111b271-16eb-4681-9ad5-3d6b2e6ba5c6" providerId="ADAL" clId="{62D51965-40E3-4263-BD23-6C5618BE0EF5}" dt="2025-08-26T08:51:33.244" v="2" actId="20577"/>
          <ac:spMkLst>
            <pc:docMk/>
            <pc:sldMk cId="3791477679" sldId="2147471597"/>
            <ac:spMk id="5" creationId="{35304234-80B8-EB26-173C-9A0AA9BE9BEB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175B8BB-E214-42E2-8DB0-72E1194D2760}" type="doc">
      <dgm:prSet loTypeId="urn:microsoft.com/office/officeart/2005/8/layout/cycle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NL"/>
        </a:p>
      </dgm:t>
    </dgm:pt>
    <dgm:pt modelId="{5BBE06DC-9991-4EA5-BD0E-DBA860B5FAA0}">
      <dgm:prSet phldrT="[Text]" custT="1"/>
      <dgm:spPr/>
      <dgm:t>
        <a:bodyPr/>
        <a:lstStyle/>
        <a:p>
          <a:r>
            <a:rPr lang="en-US" sz="2400" dirty="0"/>
            <a:t>Cyber sec. &amp; robust</a:t>
          </a:r>
          <a:endParaRPr lang="en-NL" sz="2400" dirty="0"/>
        </a:p>
      </dgm:t>
    </dgm:pt>
    <dgm:pt modelId="{FE4983BF-48C5-4960-A8A8-2211C5F8DDC6}" type="parTrans" cxnId="{400C548B-E1C6-4490-A8E1-1E0877148EBE}">
      <dgm:prSet/>
      <dgm:spPr/>
      <dgm:t>
        <a:bodyPr/>
        <a:lstStyle/>
        <a:p>
          <a:endParaRPr lang="en-NL"/>
        </a:p>
      </dgm:t>
    </dgm:pt>
    <dgm:pt modelId="{C72F672C-039B-450D-810F-6D602585871A}" type="sibTrans" cxnId="{400C548B-E1C6-4490-A8E1-1E0877148EBE}">
      <dgm:prSet/>
      <dgm:spPr/>
      <dgm:t>
        <a:bodyPr/>
        <a:lstStyle/>
        <a:p>
          <a:endParaRPr lang="en-NL"/>
        </a:p>
      </dgm:t>
    </dgm:pt>
    <dgm:pt modelId="{D7B39BEF-0026-4CD4-9F94-2F244EAE5B68}">
      <dgm:prSet phldrT="[Text]" custT="1"/>
      <dgm:spPr/>
      <dgm:t>
        <a:bodyPr/>
        <a:lstStyle/>
        <a:p>
          <a:r>
            <a:rPr lang="en-US" sz="1500" dirty="0"/>
            <a:t>Stability</a:t>
          </a:r>
          <a:endParaRPr lang="en-NL" sz="1500" dirty="0"/>
        </a:p>
      </dgm:t>
    </dgm:pt>
    <dgm:pt modelId="{0193E5D8-841F-4FDE-8FC9-D40F4A3E559F}" type="parTrans" cxnId="{20E25BFE-8FD8-4724-933F-1AA328427C63}">
      <dgm:prSet/>
      <dgm:spPr/>
      <dgm:t>
        <a:bodyPr/>
        <a:lstStyle/>
        <a:p>
          <a:endParaRPr lang="en-NL"/>
        </a:p>
      </dgm:t>
    </dgm:pt>
    <dgm:pt modelId="{67AB324E-1A10-46C1-AC55-2900EAAC09C9}" type="sibTrans" cxnId="{20E25BFE-8FD8-4724-933F-1AA328427C63}">
      <dgm:prSet/>
      <dgm:spPr/>
      <dgm:t>
        <a:bodyPr/>
        <a:lstStyle/>
        <a:p>
          <a:endParaRPr lang="en-NL"/>
        </a:p>
      </dgm:t>
    </dgm:pt>
    <dgm:pt modelId="{F7EB0B69-4D71-4A32-B563-A68AC352BD0D}">
      <dgm:prSet phldrT="[Text]"/>
      <dgm:spPr/>
      <dgm:t>
        <a:bodyPr/>
        <a:lstStyle/>
        <a:p>
          <a:r>
            <a:rPr lang="en-US" dirty="0"/>
            <a:t>AI</a:t>
          </a:r>
          <a:endParaRPr lang="en-NL" dirty="0"/>
        </a:p>
      </dgm:t>
    </dgm:pt>
    <dgm:pt modelId="{7A122E8D-2193-4FE2-9EA1-65760A5D93E6}" type="parTrans" cxnId="{546A57C3-501C-4F6A-8AE1-A4FCDA9C645D}">
      <dgm:prSet/>
      <dgm:spPr/>
      <dgm:t>
        <a:bodyPr/>
        <a:lstStyle/>
        <a:p>
          <a:endParaRPr lang="en-NL"/>
        </a:p>
      </dgm:t>
    </dgm:pt>
    <dgm:pt modelId="{D9ABF816-FB75-44EA-9E31-799F239CF218}" type="sibTrans" cxnId="{546A57C3-501C-4F6A-8AE1-A4FCDA9C645D}">
      <dgm:prSet/>
      <dgm:spPr/>
      <dgm:t>
        <a:bodyPr/>
        <a:lstStyle/>
        <a:p>
          <a:endParaRPr lang="en-NL"/>
        </a:p>
      </dgm:t>
    </dgm:pt>
    <dgm:pt modelId="{6C7B3913-509A-4770-B41B-FF7E262677E7}">
      <dgm:prSet phldrT="[Text]" custT="1"/>
      <dgm:spPr/>
      <dgm:t>
        <a:bodyPr/>
        <a:lstStyle/>
        <a:p>
          <a:r>
            <a:rPr lang="en-US" sz="1500" dirty="0"/>
            <a:t>Real time decision making</a:t>
          </a:r>
          <a:endParaRPr lang="en-NL" sz="1500" dirty="0"/>
        </a:p>
      </dgm:t>
    </dgm:pt>
    <dgm:pt modelId="{0C05C979-BB82-4AC5-9083-11E863417193}" type="parTrans" cxnId="{FF507EA4-84B3-462F-9EA3-0A5D552C6C48}">
      <dgm:prSet/>
      <dgm:spPr/>
      <dgm:t>
        <a:bodyPr/>
        <a:lstStyle/>
        <a:p>
          <a:endParaRPr lang="en-NL"/>
        </a:p>
      </dgm:t>
    </dgm:pt>
    <dgm:pt modelId="{562F34EC-14DE-4FD1-971E-67BDBA26F3F2}" type="sibTrans" cxnId="{FF507EA4-84B3-462F-9EA3-0A5D552C6C48}">
      <dgm:prSet/>
      <dgm:spPr/>
      <dgm:t>
        <a:bodyPr/>
        <a:lstStyle/>
        <a:p>
          <a:endParaRPr lang="en-NL"/>
        </a:p>
      </dgm:t>
    </dgm:pt>
    <dgm:pt modelId="{12BAA672-9CC3-4F59-B112-046F20BDBFE8}">
      <dgm:prSet phldrT="[Text]"/>
      <dgm:spPr/>
      <dgm:t>
        <a:bodyPr/>
        <a:lstStyle/>
        <a:p>
          <a:r>
            <a:rPr lang="en-US" dirty="0"/>
            <a:t>Com. </a:t>
          </a:r>
          <a:r>
            <a:rPr lang="en-US"/>
            <a:t>Tech.</a:t>
          </a:r>
          <a:endParaRPr lang="en-NL"/>
        </a:p>
      </dgm:t>
    </dgm:pt>
    <dgm:pt modelId="{2A243B81-7DC3-4AB4-B83A-BC325A2D2FB2}" type="parTrans" cxnId="{C9577340-2B95-4C7B-9488-A3B0C5DBCC11}">
      <dgm:prSet/>
      <dgm:spPr/>
      <dgm:t>
        <a:bodyPr/>
        <a:lstStyle/>
        <a:p>
          <a:endParaRPr lang="en-NL"/>
        </a:p>
      </dgm:t>
    </dgm:pt>
    <dgm:pt modelId="{306A5B6D-154F-4DAB-9433-C9651CB27936}" type="sibTrans" cxnId="{C9577340-2B95-4C7B-9488-A3B0C5DBCC11}">
      <dgm:prSet/>
      <dgm:spPr/>
      <dgm:t>
        <a:bodyPr/>
        <a:lstStyle/>
        <a:p>
          <a:endParaRPr lang="en-NL"/>
        </a:p>
      </dgm:t>
    </dgm:pt>
    <dgm:pt modelId="{403483A6-5407-4C57-8901-6435E1C4D2F5}">
      <dgm:prSet phldrT="[Text]" custT="1"/>
      <dgm:spPr/>
      <dgm:t>
        <a:bodyPr/>
        <a:lstStyle/>
        <a:p>
          <a:r>
            <a:rPr lang="en-US" sz="1500" dirty="0"/>
            <a:t>V2X</a:t>
          </a:r>
          <a:endParaRPr lang="en-NL" sz="1500" dirty="0"/>
        </a:p>
      </dgm:t>
    </dgm:pt>
    <dgm:pt modelId="{8B788E9D-887D-41E9-911A-8BE12445788D}" type="parTrans" cxnId="{ABCDA929-75D5-41AF-B926-D96AF87B61F6}">
      <dgm:prSet/>
      <dgm:spPr/>
      <dgm:t>
        <a:bodyPr/>
        <a:lstStyle/>
        <a:p>
          <a:endParaRPr lang="en-NL"/>
        </a:p>
      </dgm:t>
    </dgm:pt>
    <dgm:pt modelId="{323920B7-9208-4D78-AB9D-C2EDF37C1BE8}" type="sibTrans" cxnId="{ABCDA929-75D5-41AF-B926-D96AF87B61F6}">
      <dgm:prSet/>
      <dgm:spPr/>
      <dgm:t>
        <a:bodyPr/>
        <a:lstStyle/>
        <a:p>
          <a:endParaRPr lang="en-NL"/>
        </a:p>
      </dgm:t>
    </dgm:pt>
    <dgm:pt modelId="{E0FE41AF-0C0E-4064-AACE-29EADA153829}">
      <dgm:prSet phldrT="[Text]"/>
      <dgm:spPr/>
      <dgm:t>
        <a:bodyPr/>
        <a:lstStyle/>
        <a:p>
          <a:r>
            <a:rPr lang="en-US"/>
            <a:t>Data</a:t>
          </a:r>
          <a:endParaRPr lang="en-NL"/>
        </a:p>
      </dgm:t>
    </dgm:pt>
    <dgm:pt modelId="{0E8F4B7E-EC88-40AD-847F-5FDA9823DA58}" type="parTrans" cxnId="{E871ED21-911F-4EA9-86A9-7C82096BF9DE}">
      <dgm:prSet/>
      <dgm:spPr/>
      <dgm:t>
        <a:bodyPr/>
        <a:lstStyle/>
        <a:p>
          <a:endParaRPr lang="en-NL"/>
        </a:p>
      </dgm:t>
    </dgm:pt>
    <dgm:pt modelId="{68E289DB-511A-4BAF-A697-08981F8FD7BB}" type="sibTrans" cxnId="{E871ED21-911F-4EA9-86A9-7C82096BF9DE}">
      <dgm:prSet/>
      <dgm:spPr/>
      <dgm:t>
        <a:bodyPr/>
        <a:lstStyle/>
        <a:p>
          <a:endParaRPr lang="en-NL"/>
        </a:p>
      </dgm:t>
    </dgm:pt>
    <dgm:pt modelId="{509CE857-65B3-4C9D-988E-7BF509D77359}">
      <dgm:prSet phldrT="[Text]" custT="1"/>
      <dgm:spPr/>
      <dgm:t>
        <a:bodyPr/>
        <a:lstStyle/>
        <a:p>
          <a:r>
            <a:rPr lang="en-US" sz="1500" dirty="0"/>
            <a:t>Quality, value</a:t>
          </a:r>
          <a:endParaRPr lang="en-NL" sz="1500" dirty="0"/>
        </a:p>
      </dgm:t>
    </dgm:pt>
    <dgm:pt modelId="{A336BC2C-90A2-4B74-A724-AD8793962753}" type="parTrans" cxnId="{452C6850-73E9-454D-8479-E08D20059AF5}">
      <dgm:prSet/>
      <dgm:spPr/>
      <dgm:t>
        <a:bodyPr/>
        <a:lstStyle/>
        <a:p>
          <a:endParaRPr lang="en-NL"/>
        </a:p>
      </dgm:t>
    </dgm:pt>
    <dgm:pt modelId="{0DFDA506-7272-4F7B-A156-3D0CD6CA5F5A}" type="sibTrans" cxnId="{452C6850-73E9-454D-8479-E08D20059AF5}">
      <dgm:prSet/>
      <dgm:spPr/>
      <dgm:t>
        <a:bodyPr/>
        <a:lstStyle/>
        <a:p>
          <a:endParaRPr lang="en-NL"/>
        </a:p>
      </dgm:t>
    </dgm:pt>
    <dgm:pt modelId="{D5596274-258A-48C4-8F5D-771746A3820F}">
      <dgm:prSet phldrT="[Text]" custT="1"/>
      <dgm:spPr/>
      <dgm:t>
        <a:bodyPr/>
        <a:lstStyle/>
        <a:p>
          <a:r>
            <a:rPr lang="en-US" sz="1500" dirty="0"/>
            <a:t>Vehicle design</a:t>
          </a:r>
          <a:endParaRPr lang="en-NL" sz="1500" dirty="0"/>
        </a:p>
      </dgm:t>
    </dgm:pt>
    <dgm:pt modelId="{74C4B8FC-174F-46BE-985B-B21E329CE2F0}" type="parTrans" cxnId="{01A978FD-3B9C-4B94-B3F7-BC9D17EA21D2}">
      <dgm:prSet/>
      <dgm:spPr/>
      <dgm:t>
        <a:bodyPr/>
        <a:lstStyle/>
        <a:p>
          <a:endParaRPr lang="en-NL"/>
        </a:p>
      </dgm:t>
    </dgm:pt>
    <dgm:pt modelId="{6335A459-4925-433B-B65B-504EDBE57A0A}" type="sibTrans" cxnId="{01A978FD-3B9C-4B94-B3F7-BC9D17EA21D2}">
      <dgm:prSet/>
      <dgm:spPr/>
      <dgm:t>
        <a:bodyPr/>
        <a:lstStyle/>
        <a:p>
          <a:endParaRPr lang="en-NL"/>
        </a:p>
      </dgm:t>
    </dgm:pt>
    <dgm:pt modelId="{AB9A9C3A-1611-44A7-83DC-6CA497AD04BA}">
      <dgm:prSet phldrT="[Text]" custT="1"/>
      <dgm:spPr/>
      <dgm:t>
        <a:bodyPr/>
        <a:lstStyle/>
        <a:p>
          <a:r>
            <a:rPr lang="en-US" sz="1500" dirty="0"/>
            <a:t>Integration in UM system</a:t>
          </a:r>
          <a:endParaRPr lang="en-NL" sz="1500" dirty="0"/>
        </a:p>
      </dgm:t>
    </dgm:pt>
    <dgm:pt modelId="{23E1BE69-63A6-4A70-AD86-B433D47B48AF}" type="parTrans" cxnId="{FE1ED1FB-9716-40A7-9968-D20A0AEA5EE7}">
      <dgm:prSet/>
      <dgm:spPr/>
      <dgm:t>
        <a:bodyPr/>
        <a:lstStyle/>
        <a:p>
          <a:endParaRPr lang="en-NL"/>
        </a:p>
      </dgm:t>
    </dgm:pt>
    <dgm:pt modelId="{CB6F5B93-4855-4CBE-BC64-92AC9D3CB809}" type="sibTrans" cxnId="{FE1ED1FB-9716-40A7-9968-D20A0AEA5EE7}">
      <dgm:prSet/>
      <dgm:spPr/>
      <dgm:t>
        <a:bodyPr/>
        <a:lstStyle/>
        <a:p>
          <a:endParaRPr lang="en-NL"/>
        </a:p>
      </dgm:t>
    </dgm:pt>
    <dgm:pt modelId="{B1044EE1-4534-4E9C-84A1-318733866139}">
      <dgm:prSet phldrT="[Text]" custT="1"/>
      <dgm:spPr/>
      <dgm:t>
        <a:bodyPr/>
        <a:lstStyle/>
        <a:p>
          <a:r>
            <a:rPr lang="en-US" sz="1500" dirty="0"/>
            <a:t>(Charging) Strategies and tools</a:t>
          </a:r>
          <a:endParaRPr lang="en-NL" sz="1500" dirty="0"/>
        </a:p>
      </dgm:t>
    </dgm:pt>
    <dgm:pt modelId="{857D11F3-2DBA-45BB-8701-2E7FF1A4F4F2}" type="parTrans" cxnId="{0FB3B662-15C4-4C04-8E4A-BC0A27616388}">
      <dgm:prSet/>
      <dgm:spPr/>
      <dgm:t>
        <a:bodyPr/>
        <a:lstStyle/>
        <a:p>
          <a:endParaRPr lang="en-NL"/>
        </a:p>
      </dgm:t>
    </dgm:pt>
    <dgm:pt modelId="{0D106F79-D44C-4813-80ED-5CC5E9F69D17}" type="sibTrans" cxnId="{0FB3B662-15C4-4C04-8E4A-BC0A27616388}">
      <dgm:prSet/>
      <dgm:spPr/>
      <dgm:t>
        <a:bodyPr/>
        <a:lstStyle/>
        <a:p>
          <a:endParaRPr lang="en-NL"/>
        </a:p>
      </dgm:t>
    </dgm:pt>
    <dgm:pt modelId="{63B29672-90ED-45B3-BBAC-AFCF0E61C72E}">
      <dgm:prSet phldrT="[Text]" custT="1"/>
      <dgm:spPr/>
      <dgm:t>
        <a:bodyPr/>
        <a:lstStyle/>
        <a:p>
          <a:r>
            <a:rPr lang="en-US" sz="1500" dirty="0"/>
            <a:t>Real-time data exchange</a:t>
          </a:r>
          <a:endParaRPr lang="en-NL" sz="1500" dirty="0"/>
        </a:p>
      </dgm:t>
    </dgm:pt>
    <dgm:pt modelId="{1EDF6F74-D38F-46CB-A458-DDACBD52DB80}" type="parTrans" cxnId="{6C21A43D-6D55-4267-87E0-3818F946ED5F}">
      <dgm:prSet/>
      <dgm:spPr/>
      <dgm:t>
        <a:bodyPr/>
        <a:lstStyle/>
        <a:p>
          <a:endParaRPr lang="en-NL"/>
        </a:p>
      </dgm:t>
    </dgm:pt>
    <dgm:pt modelId="{E7BFFBA9-646C-492B-86DE-27847D88A001}" type="sibTrans" cxnId="{6C21A43D-6D55-4267-87E0-3818F946ED5F}">
      <dgm:prSet/>
      <dgm:spPr/>
      <dgm:t>
        <a:bodyPr/>
        <a:lstStyle/>
        <a:p>
          <a:endParaRPr lang="en-NL"/>
        </a:p>
      </dgm:t>
    </dgm:pt>
    <dgm:pt modelId="{E556B444-5B7F-4962-9AB7-C957EE2F52A1}">
      <dgm:prSet phldrT="[Text]" custT="1"/>
      <dgm:spPr/>
      <dgm:t>
        <a:bodyPr/>
        <a:lstStyle/>
        <a:p>
          <a:r>
            <a:rPr lang="en-US" sz="1500" dirty="0"/>
            <a:t>Enhance safety, TM</a:t>
          </a:r>
          <a:endParaRPr lang="en-NL" sz="1500" dirty="0"/>
        </a:p>
      </dgm:t>
    </dgm:pt>
    <dgm:pt modelId="{EC65EDBD-19E5-478D-9580-2E3336E9B479}" type="parTrans" cxnId="{6A71E682-7FC0-4317-B35E-051C8C8CD6E5}">
      <dgm:prSet/>
      <dgm:spPr/>
      <dgm:t>
        <a:bodyPr/>
        <a:lstStyle/>
        <a:p>
          <a:endParaRPr lang="en-NL"/>
        </a:p>
      </dgm:t>
    </dgm:pt>
    <dgm:pt modelId="{35842797-0288-4627-AB81-D4BEFEB5BE67}" type="sibTrans" cxnId="{6A71E682-7FC0-4317-B35E-051C8C8CD6E5}">
      <dgm:prSet/>
      <dgm:spPr/>
      <dgm:t>
        <a:bodyPr/>
        <a:lstStyle/>
        <a:p>
          <a:endParaRPr lang="en-NL"/>
        </a:p>
      </dgm:t>
    </dgm:pt>
    <dgm:pt modelId="{804BE393-A409-44CB-B55D-6AE4CE013FBE}">
      <dgm:prSet phldrT="[Text]" custT="1"/>
      <dgm:spPr/>
      <dgm:t>
        <a:bodyPr/>
        <a:lstStyle/>
        <a:p>
          <a:r>
            <a:rPr lang="en-US" sz="1500" dirty="0"/>
            <a:t>Training, V&amp;V</a:t>
          </a:r>
          <a:endParaRPr lang="en-NL" sz="1500" dirty="0"/>
        </a:p>
      </dgm:t>
    </dgm:pt>
    <dgm:pt modelId="{5A3B6081-D131-4A3A-94F9-D39166B99BEC}" type="parTrans" cxnId="{A57475F2-5870-452C-BE74-91DA891CC4A0}">
      <dgm:prSet/>
      <dgm:spPr/>
      <dgm:t>
        <a:bodyPr/>
        <a:lstStyle/>
        <a:p>
          <a:endParaRPr lang="en-NL"/>
        </a:p>
      </dgm:t>
    </dgm:pt>
    <dgm:pt modelId="{CBDF2D93-A336-4217-B1A1-398A4F11DAB2}" type="sibTrans" cxnId="{A57475F2-5870-452C-BE74-91DA891CC4A0}">
      <dgm:prSet/>
      <dgm:spPr/>
      <dgm:t>
        <a:bodyPr/>
        <a:lstStyle/>
        <a:p>
          <a:endParaRPr lang="en-NL"/>
        </a:p>
      </dgm:t>
    </dgm:pt>
    <dgm:pt modelId="{F3D214A9-1637-474B-AFAF-506506FC4365}">
      <dgm:prSet phldrT="[Text]" custT="1"/>
      <dgm:spPr/>
      <dgm:t>
        <a:bodyPr/>
        <a:lstStyle/>
        <a:p>
          <a:r>
            <a:rPr lang="en-US" sz="1500" dirty="0"/>
            <a:t>System reliability</a:t>
          </a:r>
          <a:endParaRPr lang="en-NL" sz="1500" dirty="0"/>
        </a:p>
      </dgm:t>
    </dgm:pt>
    <dgm:pt modelId="{C418158D-651F-43F8-855A-51C1E388E335}" type="parTrans" cxnId="{5B51E616-4A70-4B88-9953-652378FE675E}">
      <dgm:prSet/>
      <dgm:spPr/>
      <dgm:t>
        <a:bodyPr/>
        <a:lstStyle/>
        <a:p>
          <a:endParaRPr lang="en-NL"/>
        </a:p>
      </dgm:t>
    </dgm:pt>
    <dgm:pt modelId="{E960750A-E268-4A93-A96B-FFA2DA2F0B60}" type="sibTrans" cxnId="{5B51E616-4A70-4B88-9953-652378FE675E}">
      <dgm:prSet/>
      <dgm:spPr/>
      <dgm:t>
        <a:bodyPr/>
        <a:lstStyle/>
        <a:p>
          <a:endParaRPr lang="en-NL"/>
        </a:p>
      </dgm:t>
    </dgm:pt>
    <dgm:pt modelId="{6B8759C3-94C9-4B22-9B45-DAC8DB1E13D4}">
      <dgm:prSet phldrT="[Text]" custT="1"/>
      <dgm:spPr/>
      <dgm:t>
        <a:bodyPr/>
        <a:lstStyle/>
        <a:p>
          <a:r>
            <a:rPr lang="en-US" sz="1500" dirty="0"/>
            <a:t>Secure vehicle control, data privacy, safety</a:t>
          </a:r>
          <a:endParaRPr lang="en-NL" sz="1500" dirty="0"/>
        </a:p>
      </dgm:t>
    </dgm:pt>
    <dgm:pt modelId="{7A576607-20D5-463F-88EA-4A7B4B35398A}" type="parTrans" cxnId="{135B7F61-0657-4EB6-AC5E-DEBD6DC93356}">
      <dgm:prSet/>
      <dgm:spPr/>
      <dgm:t>
        <a:bodyPr/>
        <a:lstStyle/>
        <a:p>
          <a:endParaRPr lang="en-NL"/>
        </a:p>
      </dgm:t>
    </dgm:pt>
    <dgm:pt modelId="{D15CD145-A0F5-4542-8C14-D81857B1A487}" type="sibTrans" cxnId="{135B7F61-0657-4EB6-AC5E-DEBD6DC93356}">
      <dgm:prSet/>
      <dgm:spPr/>
      <dgm:t>
        <a:bodyPr/>
        <a:lstStyle/>
        <a:p>
          <a:endParaRPr lang="en-NL"/>
        </a:p>
      </dgm:t>
    </dgm:pt>
    <dgm:pt modelId="{19AA0961-E0F0-4765-80ED-32498D6704D5}">
      <dgm:prSet phldrT="[Text]" custT="1"/>
      <dgm:spPr/>
      <dgm:t>
        <a:bodyPr/>
        <a:lstStyle/>
        <a:p>
          <a:r>
            <a:rPr lang="en-US" sz="1500" dirty="0"/>
            <a:t>System integrity</a:t>
          </a:r>
          <a:endParaRPr lang="en-NL" sz="1500" dirty="0"/>
        </a:p>
      </dgm:t>
    </dgm:pt>
    <dgm:pt modelId="{882FF738-8BEB-42E6-9A8F-299F2D3C5E13}" type="parTrans" cxnId="{04E2CE4F-6A8E-4133-9E8B-4B3FCDD64A30}">
      <dgm:prSet/>
      <dgm:spPr/>
      <dgm:t>
        <a:bodyPr/>
        <a:lstStyle/>
        <a:p>
          <a:endParaRPr lang="en-NL"/>
        </a:p>
      </dgm:t>
    </dgm:pt>
    <dgm:pt modelId="{7D879B82-41E6-4082-A64E-3B314C728924}" type="sibTrans" cxnId="{04E2CE4F-6A8E-4133-9E8B-4B3FCDD64A30}">
      <dgm:prSet/>
      <dgm:spPr/>
      <dgm:t>
        <a:bodyPr/>
        <a:lstStyle/>
        <a:p>
          <a:endParaRPr lang="en-NL"/>
        </a:p>
      </dgm:t>
    </dgm:pt>
    <dgm:pt modelId="{BC228D21-E37F-462B-8DD2-E3F39C5ED243}">
      <dgm:prSet phldrT="[Text]" custT="1"/>
      <dgm:spPr/>
      <dgm:t>
        <a:bodyPr/>
        <a:lstStyle/>
        <a:p>
          <a:r>
            <a:rPr lang="en-US" sz="1500" dirty="0"/>
            <a:t>Data bias</a:t>
          </a:r>
          <a:endParaRPr lang="en-NL" sz="1500" dirty="0"/>
        </a:p>
      </dgm:t>
    </dgm:pt>
    <dgm:pt modelId="{25D16C3B-DE35-42C7-A112-D2E5F3BC48FC}" type="parTrans" cxnId="{C6235816-EE7C-492B-8AC3-0C7CFC666733}">
      <dgm:prSet/>
      <dgm:spPr/>
      <dgm:t>
        <a:bodyPr/>
        <a:lstStyle/>
        <a:p>
          <a:endParaRPr lang="en-NL"/>
        </a:p>
      </dgm:t>
    </dgm:pt>
    <dgm:pt modelId="{665786F6-0A29-471C-8AF8-7A0C85B504CB}" type="sibTrans" cxnId="{C6235816-EE7C-492B-8AC3-0C7CFC666733}">
      <dgm:prSet/>
      <dgm:spPr/>
      <dgm:t>
        <a:bodyPr/>
        <a:lstStyle/>
        <a:p>
          <a:endParaRPr lang="en-NL"/>
        </a:p>
      </dgm:t>
    </dgm:pt>
    <dgm:pt modelId="{3BC2600C-D7FF-4921-B1F0-607E2FBDB449}">
      <dgm:prSet phldrT="[Text]"/>
      <dgm:spPr/>
      <dgm:t>
        <a:bodyPr/>
        <a:lstStyle/>
        <a:p>
          <a:endParaRPr lang="en-NL" sz="900"/>
        </a:p>
      </dgm:t>
    </dgm:pt>
    <dgm:pt modelId="{84935FA0-FB3A-4CA6-9BB3-A1B2D1B58124}" type="parTrans" cxnId="{A95C0EE2-7668-461B-8DD9-814E500F0B14}">
      <dgm:prSet/>
      <dgm:spPr/>
      <dgm:t>
        <a:bodyPr/>
        <a:lstStyle/>
        <a:p>
          <a:endParaRPr lang="en-NL"/>
        </a:p>
      </dgm:t>
    </dgm:pt>
    <dgm:pt modelId="{C11E7A19-6EA8-4354-A12F-1203519466DE}" type="sibTrans" cxnId="{A95C0EE2-7668-461B-8DD9-814E500F0B14}">
      <dgm:prSet/>
      <dgm:spPr/>
      <dgm:t>
        <a:bodyPr/>
        <a:lstStyle/>
        <a:p>
          <a:endParaRPr lang="en-NL"/>
        </a:p>
      </dgm:t>
    </dgm:pt>
    <dgm:pt modelId="{640CF4F1-17DF-470B-B038-0D7692C30211}">
      <dgm:prSet phldrT="[Text]" custT="1"/>
      <dgm:spPr/>
      <dgm:t>
        <a:bodyPr/>
        <a:lstStyle/>
        <a:p>
          <a:r>
            <a:rPr lang="en-US" sz="1500" dirty="0"/>
            <a:t>Tools for data annotation</a:t>
          </a:r>
          <a:endParaRPr lang="en-NL" sz="1500" dirty="0"/>
        </a:p>
      </dgm:t>
    </dgm:pt>
    <dgm:pt modelId="{144B16C1-D2BA-49F8-8081-F42BF1CD4D46}" type="parTrans" cxnId="{1673B442-E327-48C2-95C1-E4951D188A33}">
      <dgm:prSet/>
      <dgm:spPr/>
      <dgm:t>
        <a:bodyPr/>
        <a:lstStyle/>
        <a:p>
          <a:endParaRPr lang="en-NL"/>
        </a:p>
      </dgm:t>
    </dgm:pt>
    <dgm:pt modelId="{89B88B82-23BE-452D-AF67-EDFEB3713ABD}" type="sibTrans" cxnId="{1673B442-E327-48C2-95C1-E4951D188A33}">
      <dgm:prSet/>
      <dgm:spPr/>
      <dgm:t>
        <a:bodyPr/>
        <a:lstStyle/>
        <a:p>
          <a:endParaRPr lang="en-NL"/>
        </a:p>
      </dgm:t>
    </dgm:pt>
    <dgm:pt modelId="{358C5D3E-8D7A-4DA9-A679-9A063BCB0A86}">
      <dgm:prSet phldrT="[Text]" custT="1"/>
      <dgm:spPr/>
      <dgm:t>
        <a:bodyPr/>
        <a:lstStyle/>
        <a:p>
          <a:r>
            <a:rPr lang="en-US" sz="1500" dirty="0"/>
            <a:t>Planning of operation</a:t>
          </a:r>
          <a:endParaRPr lang="en-NL" sz="1500" dirty="0"/>
        </a:p>
      </dgm:t>
    </dgm:pt>
    <dgm:pt modelId="{3FF5AE17-510C-419E-B84F-EA675EB9A680}" type="parTrans" cxnId="{D6CA7604-13AC-4FE0-9F02-2CC2FCA70C83}">
      <dgm:prSet/>
      <dgm:spPr/>
      <dgm:t>
        <a:bodyPr/>
        <a:lstStyle/>
        <a:p>
          <a:endParaRPr lang="en-NL"/>
        </a:p>
      </dgm:t>
    </dgm:pt>
    <dgm:pt modelId="{ACE0DBE1-93CB-4D22-BB68-E703F8DC7F1D}" type="sibTrans" cxnId="{D6CA7604-13AC-4FE0-9F02-2CC2FCA70C83}">
      <dgm:prSet/>
      <dgm:spPr/>
      <dgm:t>
        <a:bodyPr/>
        <a:lstStyle/>
        <a:p>
          <a:endParaRPr lang="en-NL"/>
        </a:p>
      </dgm:t>
    </dgm:pt>
    <dgm:pt modelId="{EAF3A86A-C17F-4FE5-9258-2DF3037EE359}" type="pres">
      <dgm:prSet presAssocID="{C175B8BB-E214-42E2-8DB0-72E1194D276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F2CC4F3-4830-433F-B82C-68DE6C9E30F7}" type="pres">
      <dgm:prSet presAssocID="{C175B8BB-E214-42E2-8DB0-72E1194D2760}" presName="children" presStyleCnt="0"/>
      <dgm:spPr/>
    </dgm:pt>
    <dgm:pt modelId="{C8EA5304-FCD2-4834-B8B9-11E63881463F}" type="pres">
      <dgm:prSet presAssocID="{C175B8BB-E214-42E2-8DB0-72E1194D2760}" presName="child1group" presStyleCnt="0"/>
      <dgm:spPr/>
    </dgm:pt>
    <dgm:pt modelId="{BDCCA1AF-F7D8-4DE8-B126-64997C7D2676}" type="pres">
      <dgm:prSet presAssocID="{C175B8BB-E214-42E2-8DB0-72E1194D2760}" presName="child1" presStyleLbl="bgAcc1" presStyleIdx="0" presStyleCnt="4" custScaleX="162302" custLinFactNeighborX="-30343" custLinFactNeighborY="-679"/>
      <dgm:spPr/>
    </dgm:pt>
    <dgm:pt modelId="{514ED392-8C91-4CDB-B3BF-1394DAF26AB0}" type="pres">
      <dgm:prSet presAssocID="{C175B8BB-E214-42E2-8DB0-72E1194D2760}" presName="child1Text" presStyleLbl="bgAcc1" presStyleIdx="0" presStyleCnt="4">
        <dgm:presLayoutVars>
          <dgm:bulletEnabled val="1"/>
        </dgm:presLayoutVars>
      </dgm:prSet>
      <dgm:spPr/>
    </dgm:pt>
    <dgm:pt modelId="{51A65771-5159-48F0-A260-434335E70C30}" type="pres">
      <dgm:prSet presAssocID="{C175B8BB-E214-42E2-8DB0-72E1194D2760}" presName="child2group" presStyleCnt="0"/>
      <dgm:spPr/>
    </dgm:pt>
    <dgm:pt modelId="{0983B7D4-4A6E-4027-B6AD-04889697AE63}" type="pres">
      <dgm:prSet presAssocID="{C175B8BB-E214-42E2-8DB0-72E1194D2760}" presName="child2" presStyleLbl="bgAcc1" presStyleIdx="1" presStyleCnt="4" custScaleX="162264" custLinFactNeighborX="29903" custLinFactNeighborY="1358"/>
      <dgm:spPr/>
    </dgm:pt>
    <dgm:pt modelId="{28CD1C63-4BCD-4B32-BFF4-F4D35AB96326}" type="pres">
      <dgm:prSet presAssocID="{C175B8BB-E214-42E2-8DB0-72E1194D2760}" presName="child2Text" presStyleLbl="bgAcc1" presStyleIdx="1" presStyleCnt="4">
        <dgm:presLayoutVars>
          <dgm:bulletEnabled val="1"/>
        </dgm:presLayoutVars>
      </dgm:prSet>
      <dgm:spPr/>
    </dgm:pt>
    <dgm:pt modelId="{DFA06C9A-4051-419D-A94E-4ADF8F1C1063}" type="pres">
      <dgm:prSet presAssocID="{C175B8BB-E214-42E2-8DB0-72E1194D2760}" presName="child3group" presStyleCnt="0"/>
      <dgm:spPr/>
    </dgm:pt>
    <dgm:pt modelId="{36692882-F2C7-4DED-94FE-41C8FED4C9D8}" type="pres">
      <dgm:prSet presAssocID="{C175B8BB-E214-42E2-8DB0-72E1194D2760}" presName="child3" presStyleLbl="bgAcc1" presStyleIdx="2" presStyleCnt="4" custScaleX="162302" custLinFactNeighborX="30784" custLinFactNeighborY="0"/>
      <dgm:spPr/>
    </dgm:pt>
    <dgm:pt modelId="{8A046E8E-061E-48E1-9B9D-3AD11F8640A4}" type="pres">
      <dgm:prSet presAssocID="{C175B8BB-E214-42E2-8DB0-72E1194D2760}" presName="child3Text" presStyleLbl="bgAcc1" presStyleIdx="2" presStyleCnt="4">
        <dgm:presLayoutVars>
          <dgm:bulletEnabled val="1"/>
        </dgm:presLayoutVars>
      </dgm:prSet>
      <dgm:spPr/>
    </dgm:pt>
    <dgm:pt modelId="{EF5D6BFE-F5DF-4059-9B19-74ED366C7F89}" type="pres">
      <dgm:prSet presAssocID="{C175B8BB-E214-42E2-8DB0-72E1194D2760}" presName="child4group" presStyleCnt="0"/>
      <dgm:spPr/>
    </dgm:pt>
    <dgm:pt modelId="{1F02E9FB-6B44-4AB5-A1B0-75BAB303893F}" type="pres">
      <dgm:prSet presAssocID="{C175B8BB-E214-42E2-8DB0-72E1194D2760}" presName="child4" presStyleLbl="bgAcc1" presStyleIdx="3" presStyleCnt="4" custScaleX="162302" custLinFactNeighborX="-32982" custLinFactNeighborY="-1358"/>
      <dgm:spPr/>
    </dgm:pt>
    <dgm:pt modelId="{36E0F1D4-5E2B-4E40-89DB-5775AE5BE833}" type="pres">
      <dgm:prSet presAssocID="{C175B8BB-E214-42E2-8DB0-72E1194D2760}" presName="child4Text" presStyleLbl="bgAcc1" presStyleIdx="3" presStyleCnt="4">
        <dgm:presLayoutVars>
          <dgm:bulletEnabled val="1"/>
        </dgm:presLayoutVars>
      </dgm:prSet>
      <dgm:spPr/>
    </dgm:pt>
    <dgm:pt modelId="{5B5A0F82-0060-441C-8692-1F39A58B6CD5}" type="pres">
      <dgm:prSet presAssocID="{C175B8BB-E214-42E2-8DB0-72E1194D2760}" presName="childPlaceholder" presStyleCnt="0"/>
      <dgm:spPr/>
    </dgm:pt>
    <dgm:pt modelId="{91F36B42-BF1D-4161-83B7-6D44F125C6A5}" type="pres">
      <dgm:prSet presAssocID="{C175B8BB-E214-42E2-8DB0-72E1194D2760}" presName="circle" presStyleCnt="0"/>
      <dgm:spPr/>
    </dgm:pt>
    <dgm:pt modelId="{95AE1063-1AB2-474A-B819-4DB463FE8A30}" type="pres">
      <dgm:prSet presAssocID="{C175B8BB-E214-42E2-8DB0-72E1194D2760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7A48A8D1-A3D5-48A3-BDF1-48963171F7D3}" type="pres">
      <dgm:prSet presAssocID="{C175B8BB-E214-42E2-8DB0-72E1194D2760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AF1E61E2-C426-481F-91E1-7650C7C9861E}" type="pres">
      <dgm:prSet presAssocID="{C175B8BB-E214-42E2-8DB0-72E1194D2760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26B302B3-99FC-4489-8545-2F62A64D6A83}" type="pres">
      <dgm:prSet presAssocID="{C175B8BB-E214-42E2-8DB0-72E1194D2760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A1C036F3-159C-4874-A148-3A735FFE40C4}" type="pres">
      <dgm:prSet presAssocID="{C175B8BB-E214-42E2-8DB0-72E1194D2760}" presName="quadrantPlaceholder" presStyleCnt="0"/>
      <dgm:spPr/>
    </dgm:pt>
    <dgm:pt modelId="{31EE49C9-508F-4F76-9A8B-BE7CAED09CC1}" type="pres">
      <dgm:prSet presAssocID="{C175B8BB-E214-42E2-8DB0-72E1194D2760}" presName="center1" presStyleLbl="fgShp" presStyleIdx="0" presStyleCnt="2"/>
      <dgm:spPr/>
    </dgm:pt>
    <dgm:pt modelId="{182C3393-B44E-40B8-8B9A-2277514339FA}" type="pres">
      <dgm:prSet presAssocID="{C175B8BB-E214-42E2-8DB0-72E1194D2760}" presName="center2" presStyleLbl="fgShp" presStyleIdx="1" presStyleCnt="2"/>
      <dgm:spPr/>
    </dgm:pt>
  </dgm:ptLst>
  <dgm:cxnLst>
    <dgm:cxn modelId="{A57F4C00-F6DC-422C-AEF7-FE782AAC8935}" type="presOf" srcId="{6C7B3913-509A-4770-B41B-FF7E262677E7}" destId="{0983B7D4-4A6E-4027-B6AD-04889697AE63}" srcOrd="0" destOrd="0" presId="urn:microsoft.com/office/officeart/2005/8/layout/cycle4"/>
    <dgm:cxn modelId="{9387C201-CD3A-4273-A907-5875B1A33CA6}" type="presOf" srcId="{C175B8BB-E214-42E2-8DB0-72E1194D2760}" destId="{EAF3A86A-C17F-4FE5-9258-2DF3037EE359}" srcOrd="0" destOrd="0" presId="urn:microsoft.com/office/officeart/2005/8/layout/cycle4"/>
    <dgm:cxn modelId="{D6CA7604-13AC-4FE0-9F02-2CC2FCA70C83}" srcId="{12BAA672-9CC3-4F59-B112-046F20BDBFE8}" destId="{358C5D3E-8D7A-4DA9-A679-9A063BCB0A86}" srcOrd="3" destOrd="0" parTransId="{3FF5AE17-510C-419E-B84F-EA675EB9A680}" sibTransId="{ACE0DBE1-93CB-4D22-BB68-E703F8DC7F1D}"/>
    <dgm:cxn modelId="{5F7E5C06-019A-41BA-9F89-21BD585E62FD}" type="presOf" srcId="{804BE393-A409-44CB-B55D-6AE4CE013FBE}" destId="{36E0F1D4-5E2B-4E40-89DB-5775AE5BE833}" srcOrd="1" destOrd="1" presId="urn:microsoft.com/office/officeart/2005/8/layout/cycle4"/>
    <dgm:cxn modelId="{C6235816-EE7C-492B-8AC3-0C7CFC666733}" srcId="{5BBE06DC-9991-4EA5-BD0E-DBA860B5FAA0}" destId="{BC228D21-E37F-462B-8DD2-E3F39C5ED243}" srcOrd="3" destOrd="0" parTransId="{25D16C3B-DE35-42C7-A112-D2E5F3BC48FC}" sibTransId="{665786F6-0A29-471C-8AF8-7A0C85B504CB}"/>
    <dgm:cxn modelId="{5B51E616-4A70-4B88-9953-652378FE675E}" srcId="{E0FE41AF-0C0E-4064-AACE-29EADA153829}" destId="{F3D214A9-1637-474B-AFAF-506506FC4365}" srcOrd="2" destOrd="0" parTransId="{C418158D-651F-43F8-855A-51C1E388E335}" sibTransId="{E960750A-E268-4A93-A96B-FFA2DA2F0B60}"/>
    <dgm:cxn modelId="{2ECE2A1C-74E0-41A3-9C23-028ACC54F3D6}" type="presOf" srcId="{358C5D3E-8D7A-4DA9-A679-9A063BCB0A86}" destId="{36692882-F2C7-4DED-94FE-41C8FED4C9D8}" srcOrd="0" destOrd="3" presId="urn:microsoft.com/office/officeart/2005/8/layout/cycle4"/>
    <dgm:cxn modelId="{77F1601F-E13F-486E-A8B7-67D35313AD84}" type="presOf" srcId="{509CE857-65B3-4C9D-988E-7BF509D77359}" destId="{1F02E9FB-6B44-4AB5-A1B0-75BAB303893F}" srcOrd="0" destOrd="0" presId="urn:microsoft.com/office/officeart/2005/8/layout/cycle4"/>
    <dgm:cxn modelId="{028BB41F-A888-4EFC-8957-8D94502341C7}" type="presOf" srcId="{D7B39BEF-0026-4CD4-9F94-2F244EAE5B68}" destId="{514ED392-8C91-4CDB-B3BF-1394DAF26AB0}" srcOrd="1" destOrd="0" presId="urn:microsoft.com/office/officeart/2005/8/layout/cycle4"/>
    <dgm:cxn modelId="{E871ED21-911F-4EA9-86A9-7C82096BF9DE}" srcId="{C175B8BB-E214-42E2-8DB0-72E1194D2760}" destId="{E0FE41AF-0C0E-4064-AACE-29EADA153829}" srcOrd="3" destOrd="0" parTransId="{0E8F4B7E-EC88-40AD-847F-5FDA9823DA58}" sibTransId="{68E289DB-511A-4BAF-A697-08981F8FD7BB}"/>
    <dgm:cxn modelId="{ABCDA929-75D5-41AF-B926-D96AF87B61F6}" srcId="{12BAA672-9CC3-4F59-B112-046F20BDBFE8}" destId="{403483A6-5407-4C57-8901-6435E1C4D2F5}" srcOrd="0" destOrd="0" parTransId="{8B788E9D-887D-41E9-911A-8BE12445788D}" sibTransId="{323920B7-9208-4D78-AB9D-C2EDF37C1BE8}"/>
    <dgm:cxn modelId="{FCAAF234-8916-405B-90D7-90646BA8B126}" type="presOf" srcId="{BC228D21-E37F-462B-8DD2-E3F39C5ED243}" destId="{BDCCA1AF-F7D8-4DE8-B126-64997C7D2676}" srcOrd="0" destOrd="3" presId="urn:microsoft.com/office/officeart/2005/8/layout/cycle4"/>
    <dgm:cxn modelId="{44878C38-7503-4C17-A9AB-F51E5144A529}" type="presOf" srcId="{F7EB0B69-4D71-4A32-B563-A68AC352BD0D}" destId="{7A48A8D1-A3D5-48A3-BDF1-48963171F7D3}" srcOrd="0" destOrd="0" presId="urn:microsoft.com/office/officeart/2005/8/layout/cycle4"/>
    <dgm:cxn modelId="{6C21A43D-6D55-4267-87E0-3818F946ED5F}" srcId="{12BAA672-9CC3-4F59-B112-046F20BDBFE8}" destId="{63B29672-90ED-45B3-BBAC-AFCF0E61C72E}" srcOrd="1" destOrd="0" parTransId="{1EDF6F74-D38F-46CB-A458-DDACBD52DB80}" sibTransId="{E7BFFBA9-646C-492B-86DE-27847D88A001}"/>
    <dgm:cxn modelId="{C9577340-2B95-4C7B-9488-A3B0C5DBCC11}" srcId="{C175B8BB-E214-42E2-8DB0-72E1194D2760}" destId="{12BAA672-9CC3-4F59-B112-046F20BDBFE8}" srcOrd="2" destOrd="0" parTransId="{2A243B81-7DC3-4AB4-B83A-BC325A2D2FB2}" sibTransId="{306A5B6D-154F-4DAB-9433-C9651CB27936}"/>
    <dgm:cxn modelId="{8CFBE45E-150D-4E7E-8486-6E7518511980}" type="presOf" srcId="{BC228D21-E37F-462B-8DD2-E3F39C5ED243}" destId="{514ED392-8C91-4CDB-B3BF-1394DAF26AB0}" srcOrd="1" destOrd="3" presId="urn:microsoft.com/office/officeart/2005/8/layout/cycle4"/>
    <dgm:cxn modelId="{135B7F61-0657-4EB6-AC5E-DEBD6DC93356}" srcId="{5BBE06DC-9991-4EA5-BD0E-DBA860B5FAA0}" destId="{6B8759C3-94C9-4B22-9B45-DAC8DB1E13D4}" srcOrd="1" destOrd="0" parTransId="{7A576607-20D5-463F-88EA-4A7B4B35398A}" sibTransId="{D15CD145-A0F5-4542-8C14-D81857B1A487}"/>
    <dgm:cxn modelId="{1673B442-E327-48C2-95C1-E4951D188A33}" srcId="{E0FE41AF-0C0E-4064-AACE-29EADA153829}" destId="{640CF4F1-17DF-470B-B038-0D7692C30211}" srcOrd="3" destOrd="0" parTransId="{144B16C1-D2BA-49F8-8081-F42BF1CD4D46}" sibTransId="{89B88B82-23BE-452D-AF67-EDFEB3713ABD}"/>
    <dgm:cxn modelId="{0FB3B662-15C4-4C04-8E4A-BC0A27616388}" srcId="{F7EB0B69-4D71-4A32-B563-A68AC352BD0D}" destId="{B1044EE1-4534-4E9C-84A1-318733866139}" srcOrd="3" destOrd="0" parTransId="{857D11F3-2DBA-45BB-8701-2E7FF1A4F4F2}" sibTransId="{0D106F79-D44C-4813-80ED-5CC5E9F69D17}"/>
    <dgm:cxn modelId="{77803048-E46D-43D6-B97C-A56651C9963F}" type="presOf" srcId="{5BBE06DC-9991-4EA5-BD0E-DBA860B5FAA0}" destId="{95AE1063-1AB2-474A-B819-4DB463FE8A30}" srcOrd="0" destOrd="0" presId="urn:microsoft.com/office/officeart/2005/8/layout/cycle4"/>
    <dgm:cxn modelId="{22D9546E-4ED8-4A82-838F-C6BCF9AB5E6F}" type="presOf" srcId="{12BAA672-9CC3-4F59-B112-046F20BDBFE8}" destId="{AF1E61E2-C426-481F-91E1-7650C7C9861E}" srcOrd="0" destOrd="0" presId="urn:microsoft.com/office/officeart/2005/8/layout/cycle4"/>
    <dgm:cxn modelId="{04E2CE4F-6A8E-4133-9E8B-4B3FCDD64A30}" srcId="{5BBE06DC-9991-4EA5-BD0E-DBA860B5FAA0}" destId="{19AA0961-E0F0-4765-80ED-32498D6704D5}" srcOrd="2" destOrd="0" parTransId="{882FF738-8BEB-42E6-9A8F-299F2D3C5E13}" sibTransId="{7D879B82-41E6-4082-A64E-3B314C728924}"/>
    <dgm:cxn modelId="{452C6850-73E9-454D-8479-E08D20059AF5}" srcId="{E0FE41AF-0C0E-4064-AACE-29EADA153829}" destId="{509CE857-65B3-4C9D-988E-7BF509D77359}" srcOrd="0" destOrd="0" parTransId="{A336BC2C-90A2-4B74-A724-AD8793962753}" sibTransId="{0DFDA506-7272-4F7B-A156-3D0CD6CA5F5A}"/>
    <dgm:cxn modelId="{CC465850-79D3-4C77-A43F-94BC60CDE318}" type="presOf" srcId="{D5596274-258A-48C4-8F5D-771746A3820F}" destId="{0983B7D4-4A6E-4027-B6AD-04889697AE63}" srcOrd="0" destOrd="1" presId="urn:microsoft.com/office/officeart/2005/8/layout/cycle4"/>
    <dgm:cxn modelId="{6F228B52-69BB-45D1-80CF-0F5659BB3340}" type="presOf" srcId="{63B29672-90ED-45B3-BBAC-AFCF0E61C72E}" destId="{8A046E8E-061E-48E1-9B9D-3AD11F8640A4}" srcOrd="1" destOrd="1" presId="urn:microsoft.com/office/officeart/2005/8/layout/cycle4"/>
    <dgm:cxn modelId="{F41E2878-E997-4901-B209-EA79174F166E}" type="presOf" srcId="{D5596274-258A-48C4-8F5D-771746A3820F}" destId="{28CD1C63-4BCD-4B32-BFF4-F4D35AB96326}" srcOrd="1" destOrd="1" presId="urn:microsoft.com/office/officeart/2005/8/layout/cycle4"/>
    <dgm:cxn modelId="{B536555A-0320-4ABB-8D7F-FC4E34C0341A}" type="presOf" srcId="{63B29672-90ED-45B3-BBAC-AFCF0E61C72E}" destId="{36692882-F2C7-4DED-94FE-41C8FED4C9D8}" srcOrd="0" destOrd="1" presId="urn:microsoft.com/office/officeart/2005/8/layout/cycle4"/>
    <dgm:cxn modelId="{F27A517F-459A-43E2-9ADF-F1927810FFB5}" type="presOf" srcId="{640CF4F1-17DF-470B-B038-0D7692C30211}" destId="{36E0F1D4-5E2B-4E40-89DB-5775AE5BE833}" srcOrd="1" destOrd="3" presId="urn:microsoft.com/office/officeart/2005/8/layout/cycle4"/>
    <dgm:cxn modelId="{6A71E682-7FC0-4317-B35E-051C8C8CD6E5}" srcId="{12BAA672-9CC3-4F59-B112-046F20BDBFE8}" destId="{E556B444-5B7F-4962-9AB7-C957EE2F52A1}" srcOrd="2" destOrd="0" parTransId="{EC65EDBD-19E5-478D-9580-2E3336E9B479}" sibTransId="{35842797-0288-4627-AB81-D4BEFEB5BE67}"/>
    <dgm:cxn modelId="{DB8C2685-A219-48E7-9F20-F9438ED47B6E}" type="presOf" srcId="{509CE857-65B3-4C9D-988E-7BF509D77359}" destId="{36E0F1D4-5E2B-4E40-89DB-5775AE5BE833}" srcOrd="1" destOrd="0" presId="urn:microsoft.com/office/officeart/2005/8/layout/cycle4"/>
    <dgm:cxn modelId="{09C5E785-1FB6-42E7-A3E0-B77C439C4E7A}" type="presOf" srcId="{19AA0961-E0F0-4765-80ED-32498D6704D5}" destId="{BDCCA1AF-F7D8-4DE8-B126-64997C7D2676}" srcOrd="0" destOrd="2" presId="urn:microsoft.com/office/officeart/2005/8/layout/cycle4"/>
    <dgm:cxn modelId="{DE892E89-F487-4392-B229-866AB81B48D5}" type="presOf" srcId="{B1044EE1-4534-4E9C-84A1-318733866139}" destId="{28CD1C63-4BCD-4B32-BFF4-F4D35AB96326}" srcOrd="1" destOrd="3" presId="urn:microsoft.com/office/officeart/2005/8/layout/cycle4"/>
    <dgm:cxn modelId="{651B678B-2602-4827-A872-14AC36E6E019}" type="presOf" srcId="{F3D214A9-1637-474B-AFAF-506506FC4365}" destId="{1F02E9FB-6B44-4AB5-A1B0-75BAB303893F}" srcOrd="0" destOrd="2" presId="urn:microsoft.com/office/officeart/2005/8/layout/cycle4"/>
    <dgm:cxn modelId="{400C548B-E1C6-4490-A8E1-1E0877148EBE}" srcId="{C175B8BB-E214-42E2-8DB0-72E1194D2760}" destId="{5BBE06DC-9991-4EA5-BD0E-DBA860B5FAA0}" srcOrd="0" destOrd="0" parTransId="{FE4983BF-48C5-4960-A8A8-2211C5F8DDC6}" sibTransId="{C72F672C-039B-450D-810F-6D602585871A}"/>
    <dgm:cxn modelId="{4897068E-5772-457E-83B4-F09310F4ED30}" type="presOf" srcId="{403483A6-5407-4C57-8901-6435E1C4D2F5}" destId="{8A046E8E-061E-48E1-9B9D-3AD11F8640A4}" srcOrd="1" destOrd="0" presId="urn:microsoft.com/office/officeart/2005/8/layout/cycle4"/>
    <dgm:cxn modelId="{A8BD3C9D-FBC0-463D-BE63-FDD878E374ED}" type="presOf" srcId="{403483A6-5407-4C57-8901-6435E1C4D2F5}" destId="{36692882-F2C7-4DED-94FE-41C8FED4C9D8}" srcOrd="0" destOrd="0" presId="urn:microsoft.com/office/officeart/2005/8/layout/cycle4"/>
    <dgm:cxn modelId="{592114A1-EE22-40DF-95A2-95461063ABAA}" type="presOf" srcId="{6B8759C3-94C9-4B22-9B45-DAC8DB1E13D4}" destId="{514ED392-8C91-4CDB-B3BF-1394DAF26AB0}" srcOrd="1" destOrd="1" presId="urn:microsoft.com/office/officeart/2005/8/layout/cycle4"/>
    <dgm:cxn modelId="{FF507EA4-84B3-462F-9EA3-0A5D552C6C48}" srcId="{F7EB0B69-4D71-4A32-B563-A68AC352BD0D}" destId="{6C7B3913-509A-4770-B41B-FF7E262677E7}" srcOrd="0" destOrd="0" parTransId="{0C05C979-BB82-4AC5-9083-11E863417193}" sibTransId="{562F34EC-14DE-4FD1-971E-67BDBA26F3F2}"/>
    <dgm:cxn modelId="{752D77AA-DD05-4B3E-8085-B0B3FF14536E}" type="presOf" srcId="{AB9A9C3A-1611-44A7-83DC-6CA497AD04BA}" destId="{28CD1C63-4BCD-4B32-BFF4-F4D35AB96326}" srcOrd="1" destOrd="2" presId="urn:microsoft.com/office/officeart/2005/8/layout/cycle4"/>
    <dgm:cxn modelId="{B74B53AC-1791-45A8-8EA0-D26966950089}" type="presOf" srcId="{804BE393-A409-44CB-B55D-6AE4CE013FBE}" destId="{1F02E9FB-6B44-4AB5-A1B0-75BAB303893F}" srcOrd="0" destOrd="1" presId="urn:microsoft.com/office/officeart/2005/8/layout/cycle4"/>
    <dgm:cxn modelId="{DF2A18B4-234C-4A39-8D5F-B0FFDF191776}" type="presOf" srcId="{3BC2600C-D7FF-4921-B1F0-607E2FBDB449}" destId="{BDCCA1AF-F7D8-4DE8-B126-64997C7D2676}" srcOrd="0" destOrd="4" presId="urn:microsoft.com/office/officeart/2005/8/layout/cycle4"/>
    <dgm:cxn modelId="{A13755BE-8D66-4C6C-A464-F6AB050A9E2A}" type="presOf" srcId="{19AA0961-E0F0-4765-80ED-32498D6704D5}" destId="{514ED392-8C91-4CDB-B3BF-1394DAF26AB0}" srcOrd="1" destOrd="2" presId="urn:microsoft.com/office/officeart/2005/8/layout/cycle4"/>
    <dgm:cxn modelId="{7A0073C3-CAF2-4236-9A03-FB0C03C80F7E}" type="presOf" srcId="{AB9A9C3A-1611-44A7-83DC-6CA497AD04BA}" destId="{0983B7D4-4A6E-4027-B6AD-04889697AE63}" srcOrd="0" destOrd="2" presId="urn:microsoft.com/office/officeart/2005/8/layout/cycle4"/>
    <dgm:cxn modelId="{546A57C3-501C-4F6A-8AE1-A4FCDA9C645D}" srcId="{C175B8BB-E214-42E2-8DB0-72E1194D2760}" destId="{F7EB0B69-4D71-4A32-B563-A68AC352BD0D}" srcOrd="1" destOrd="0" parTransId="{7A122E8D-2193-4FE2-9EA1-65760A5D93E6}" sibTransId="{D9ABF816-FB75-44EA-9E31-799F239CF218}"/>
    <dgm:cxn modelId="{441ECBC7-EB04-4037-96F4-ED3648E5A82E}" type="presOf" srcId="{D7B39BEF-0026-4CD4-9F94-2F244EAE5B68}" destId="{BDCCA1AF-F7D8-4DE8-B126-64997C7D2676}" srcOrd="0" destOrd="0" presId="urn:microsoft.com/office/officeart/2005/8/layout/cycle4"/>
    <dgm:cxn modelId="{D3FA76CC-E799-42FE-BFD0-3C756C70B0C8}" type="presOf" srcId="{358C5D3E-8D7A-4DA9-A679-9A063BCB0A86}" destId="{8A046E8E-061E-48E1-9B9D-3AD11F8640A4}" srcOrd="1" destOrd="3" presId="urn:microsoft.com/office/officeart/2005/8/layout/cycle4"/>
    <dgm:cxn modelId="{F7BCB5D6-067B-4E00-8B9F-9E4350BE3031}" type="presOf" srcId="{E556B444-5B7F-4962-9AB7-C957EE2F52A1}" destId="{8A046E8E-061E-48E1-9B9D-3AD11F8640A4}" srcOrd="1" destOrd="2" presId="urn:microsoft.com/office/officeart/2005/8/layout/cycle4"/>
    <dgm:cxn modelId="{22C96CD7-2BC5-4C40-BE9E-91BDD5DB50C8}" type="presOf" srcId="{640CF4F1-17DF-470B-B038-0D7692C30211}" destId="{1F02E9FB-6B44-4AB5-A1B0-75BAB303893F}" srcOrd="0" destOrd="3" presId="urn:microsoft.com/office/officeart/2005/8/layout/cycle4"/>
    <dgm:cxn modelId="{D8A5D5DF-7958-4D46-8B98-3B8E07A0C9CB}" type="presOf" srcId="{3BC2600C-D7FF-4921-B1F0-607E2FBDB449}" destId="{514ED392-8C91-4CDB-B3BF-1394DAF26AB0}" srcOrd="1" destOrd="4" presId="urn:microsoft.com/office/officeart/2005/8/layout/cycle4"/>
    <dgm:cxn modelId="{421635E1-FE7F-4C86-9703-7E0682423B94}" type="presOf" srcId="{6C7B3913-509A-4770-B41B-FF7E262677E7}" destId="{28CD1C63-4BCD-4B32-BFF4-F4D35AB96326}" srcOrd="1" destOrd="0" presId="urn:microsoft.com/office/officeart/2005/8/layout/cycle4"/>
    <dgm:cxn modelId="{A95C0EE2-7668-461B-8DD9-814E500F0B14}" srcId="{5BBE06DC-9991-4EA5-BD0E-DBA860B5FAA0}" destId="{3BC2600C-D7FF-4921-B1F0-607E2FBDB449}" srcOrd="4" destOrd="0" parTransId="{84935FA0-FB3A-4CA6-9BB3-A1B2D1B58124}" sibTransId="{C11E7A19-6EA8-4354-A12F-1203519466DE}"/>
    <dgm:cxn modelId="{1CB840EB-94CF-45B6-B918-15041293C07A}" type="presOf" srcId="{E556B444-5B7F-4962-9AB7-C957EE2F52A1}" destId="{36692882-F2C7-4DED-94FE-41C8FED4C9D8}" srcOrd="0" destOrd="2" presId="urn:microsoft.com/office/officeart/2005/8/layout/cycle4"/>
    <dgm:cxn modelId="{5B20D9EF-35DF-439E-B401-E21C02E7DB5E}" type="presOf" srcId="{E0FE41AF-0C0E-4064-AACE-29EADA153829}" destId="{26B302B3-99FC-4489-8545-2F62A64D6A83}" srcOrd="0" destOrd="0" presId="urn:microsoft.com/office/officeart/2005/8/layout/cycle4"/>
    <dgm:cxn modelId="{E3D742F1-5857-4449-9BD2-EBA893372126}" type="presOf" srcId="{B1044EE1-4534-4E9C-84A1-318733866139}" destId="{0983B7D4-4A6E-4027-B6AD-04889697AE63}" srcOrd="0" destOrd="3" presId="urn:microsoft.com/office/officeart/2005/8/layout/cycle4"/>
    <dgm:cxn modelId="{A57475F2-5870-452C-BE74-91DA891CC4A0}" srcId="{E0FE41AF-0C0E-4064-AACE-29EADA153829}" destId="{804BE393-A409-44CB-B55D-6AE4CE013FBE}" srcOrd="1" destOrd="0" parTransId="{5A3B6081-D131-4A3A-94F9-D39166B99BEC}" sibTransId="{CBDF2D93-A336-4217-B1A1-398A4F11DAB2}"/>
    <dgm:cxn modelId="{6C9B4BF9-7FF5-4FDC-8AE7-B53A2F9E98B5}" type="presOf" srcId="{6B8759C3-94C9-4B22-9B45-DAC8DB1E13D4}" destId="{BDCCA1AF-F7D8-4DE8-B126-64997C7D2676}" srcOrd="0" destOrd="1" presId="urn:microsoft.com/office/officeart/2005/8/layout/cycle4"/>
    <dgm:cxn modelId="{0E5EA5F9-6A58-48F0-B841-E008911261E0}" type="presOf" srcId="{F3D214A9-1637-474B-AFAF-506506FC4365}" destId="{36E0F1D4-5E2B-4E40-89DB-5775AE5BE833}" srcOrd="1" destOrd="2" presId="urn:microsoft.com/office/officeart/2005/8/layout/cycle4"/>
    <dgm:cxn modelId="{FE1ED1FB-9716-40A7-9968-D20A0AEA5EE7}" srcId="{F7EB0B69-4D71-4A32-B563-A68AC352BD0D}" destId="{AB9A9C3A-1611-44A7-83DC-6CA497AD04BA}" srcOrd="2" destOrd="0" parTransId="{23E1BE69-63A6-4A70-AD86-B433D47B48AF}" sibTransId="{CB6F5B93-4855-4CBE-BC64-92AC9D3CB809}"/>
    <dgm:cxn modelId="{01A978FD-3B9C-4B94-B3F7-BC9D17EA21D2}" srcId="{F7EB0B69-4D71-4A32-B563-A68AC352BD0D}" destId="{D5596274-258A-48C4-8F5D-771746A3820F}" srcOrd="1" destOrd="0" parTransId="{74C4B8FC-174F-46BE-985B-B21E329CE2F0}" sibTransId="{6335A459-4925-433B-B65B-504EDBE57A0A}"/>
    <dgm:cxn modelId="{20E25BFE-8FD8-4724-933F-1AA328427C63}" srcId="{5BBE06DC-9991-4EA5-BD0E-DBA860B5FAA0}" destId="{D7B39BEF-0026-4CD4-9F94-2F244EAE5B68}" srcOrd="0" destOrd="0" parTransId="{0193E5D8-841F-4FDE-8FC9-D40F4A3E559F}" sibTransId="{67AB324E-1A10-46C1-AC55-2900EAAC09C9}"/>
    <dgm:cxn modelId="{51FB86C0-33F8-4710-8E7C-5D5E600E25EE}" type="presParOf" srcId="{EAF3A86A-C17F-4FE5-9258-2DF3037EE359}" destId="{BF2CC4F3-4830-433F-B82C-68DE6C9E30F7}" srcOrd="0" destOrd="0" presId="urn:microsoft.com/office/officeart/2005/8/layout/cycle4"/>
    <dgm:cxn modelId="{253BF35D-96AE-4028-860D-651162292B19}" type="presParOf" srcId="{BF2CC4F3-4830-433F-B82C-68DE6C9E30F7}" destId="{C8EA5304-FCD2-4834-B8B9-11E63881463F}" srcOrd="0" destOrd="0" presId="urn:microsoft.com/office/officeart/2005/8/layout/cycle4"/>
    <dgm:cxn modelId="{8E585F14-70DC-4356-BE42-97E15990369D}" type="presParOf" srcId="{C8EA5304-FCD2-4834-B8B9-11E63881463F}" destId="{BDCCA1AF-F7D8-4DE8-B126-64997C7D2676}" srcOrd="0" destOrd="0" presId="urn:microsoft.com/office/officeart/2005/8/layout/cycle4"/>
    <dgm:cxn modelId="{AD203770-A3B4-4799-A479-D6BED11E6777}" type="presParOf" srcId="{C8EA5304-FCD2-4834-B8B9-11E63881463F}" destId="{514ED392-8C91-4CDB-B3BF-1394DAF26AB0}" srcOrd="1" destOrd="0" presId="urn:microsoft.com/office/officeart/2005/8/layout/cycle4"/>
    <dgm:cxn modelId="{EF724FD0-23F3-4A21-8064-05B38E189485}" type="presParOf" srcId="{BF2CC4F3-4830-433F-B82C-68DE6C9E30F7}" destId="{51A65771-5159-48F0-A260-434335E70C30}" srcOrd="1" destOrd="0" presId="urn:microsoft.com/office/officeart/2005/8/layout/cycle4"/>
    <dgm:cxn modelId="{853CAD42-6BD3-432C-82F1-2F6BDD94D372}" type="presParOf" srcId="{51A65771-5159-48F0-A260-434335E70C30}" destId="{0983B7D4-4A6E-4027-B6AD-04889697AE63}" srcOrd="0" destOrd="0" presId="urn:microsoft.com/office/officeart/2005/8/layout/cycle4"/>
    <dgm:cxn modelId="{3D126436-52E8-4A1D-BAE8-30B4B3594D12}" type="presParOf" srcId="{51A65771-5159-48F0-A260-434335E70C30}" destId="{28CD1C63-4BCD-4B32-BFF4-F4D35AB96326}" srcOrd="1" destOrd="0" presId="urn:microsoft.com/office/officeart/2005/8/layout/cycle4"/>
    <dgm:cxn modelId="{5E0391A8-B7F5-4377-8C63-BEC59F834677}" type="presParOf" srcId="{BF2CC4F3-4830-433F-B82C-68DE6C9E30F7}" destId="{DFA06C9A-4051-419D-A94E-4ADF8F1C1063}" srcOrd="2" destOrd="0" presId="urn:microsoft.com/office/officeart/2005/8/layout/cycle4"/>
    <dgm:cxn modelId="{6FF32D69-ABCF-4C66-BC05-38D0BE4E88FA}" type="presParOf" srcId="{DFA06C9A-4051-419D-A94E-4ADF8F1C1063}" destId="{36692882-F2C7-4DED-94FE-41C8FED4C9D8}" srcOrd="0" destOrd="0" presId="urn:microsoft.com/office/officeart/2005/8/layout/cycle4"/>
    <dgm:cxn modelId="{50CC4A07-8276-4076-B29F-F55CDC2287F7}" type="presParOf" srcId="{DFA06C9A-4051-419D-A94E-4ADF8F1C1063}" destId="{8A046E8E-061E-48E1-9B9D-3AD11F8640A4}" srcOrd="1" destOrd="0" presId="urn:microsoft.com/office/officeart/2005/8/layout/cycle4"/>
    <dgm:cxn modelId="{E00D3B73-670D-43AB-B5CD-0363A6117968}" type="presParOf" srcId="{BF2CC4F3-4830-433F-B82C-68DE6C9E30F7}" destId="{EF5D6BFE-F5DF-4059-9B19-74ED366C7F89}" srcOrd="3" destOrd="0" presId="urn:microsoft.com/office/officeart/2005/8/layout/cycle4"/>
    <dgm:cxn modelId="{A68C4F0E-43AA-47B1-A87B-EBE1A0267D31}" type="presParOf" srcId="{EF5D6BFE-F5DF-4059-9B19-74ED366C7F89}" destId="{1F02E9FB-6B44-4AB5-A1B0-75BAB303893F}" srcOrd="0" destOrd="0" presId="urn:microsoft.com/office/officeart/2005/8/layout/cycle4"/>
    <dgm:cxn modelId="{D9C3F147-BC75-4741-A795-3DD0C79A96F3}" type="presParOf" srcId="{EF5D6BFE-F5DF-4059-9B19-74ED366C7F89}" destId="{36E0F1D4-5E2B-4E40-89DB-5775AE5BE833}" srcOrd="1" destOrd="0" presId="urn:microsoft.com/office/officeart/2005/8/layout/cycle4"/>
    <dgm:cxn modelId="{54524EFF-7269-40D3-BDEE-356C1FC8C93B}" type="presParOf" srcId="{BF2CC4F3-4830-433F-B82C-68DE6C9E30F7}" destId="{5B5A0F82-0060-441C-8692-1F39A58B6CD5}" srcOrd="4" destOrd="0" presId="urn:microsoft.com/office/officeart/2005/8/layout/cycle4"/>
    <dgm:cxn modelId="{00038150-836D-43D7-822E-CBAEE61B4E30}" type="presParOf" srcId="{EAF3A86A-C17F-4FE5-9258-2DF3037EE359}" destId="{91F36B42-BF1D-4161-83B7-6D44F125C6A5}" srcOrd="1" destOrd="0" presId="urn:microsoft.com/office/officeart/2005/8/layout/cycle4"/>
    <dgm:cxn modelId="{A6D2DA76-779B-4C3E-8EDF-2FEFA8AE2117}" type="presParOf" srcId="{91F36B42-BF1D-4161-83B7-6D44F125C6A5}" destId="{95AE1063-1AB2-474A-B819-4DB463FE8A30}" srcOrd="0" destOrd="0" presId="urn:microsoft.com/office/officeart/2005/8/layout/cycle4"/>
    <dgm:cxn modelId="{B6C1312B-1548-48FC-AC05-4E8696DDE4E7}" type="presParOf" srcId="{91F36B42-BF1D-4161-83B7-6D44F125C6A5}" destId="{7A48A8D1-A3D5-48A3-BDF1-48963171F7D3}" srcOrd="1" destOrd="0" presId="urn:microsoft.com/office/officeart/2005/8/layout/cycle4"/>
    <dgm:cxn modelId="{E66ACA33-39EF-4095-8433-34F1DF747969}" type="presParOf" srcId="{91F36B42-BF1D-4161-83B7-6D44F125C6A5}" destId="{AF1E61E2-C426-481F-91E1-7650C7C9861E}" srcOrd="2" destOrd="0" presId="urn:microsoft.com/office/officeart/2005/8/layout/cycle4"/>
    <dgm:cxn modelId="{B98FB55F-3527-4B0D-B591-1A87A2846395}" type="presParOf" srcId="{91F36B42-BF1D-4161-83B7-6D44F125C6A5}" destId="{26B302B3-99FC-4489-8545-2F62A64D6A83}" srcOrd="3" destOrd="0" presId="urn:microsoft.com/office/officeart/2005/8/layout/cycle4"/>
    <dgm:cxn modelId="{9804DFE5-9223-47CA-80A1-11F261AC36F5}" type="presParOf" srcId="{91F36B42-BF1D-4161-83B7-6D44F125C6A5}" destId="{A1C036F3-159C-4874-A148-3A735FFE40C4}" srcOrd="4" destOrd="0" presId="urn:microsoft.com/office/officeart/2005/8/layout/cycle4"/>
    <dgm:cxn modelId="{4FB384B4-C147-4139-82EA-D0767339E15C}" type="presParOf" srcId="{EAF3A86A-C17F-4FE5-9258-2DF3037EE359}" destId="{31EE49C9-508F-4F76-9A8B-BE7CAED09CC1}" srcOrd="2" destOrd="0" presId="urn:microsoft.com/office/officeart/2005/8/layout/cycle4"/>
    <dgm:cxn modelId="{044C85BD-4A39-476F-AD2E-750FCF50DD22}" type="presParOf" srcId="{EAF3A86A-C17F-4FE5-9258-2DF3037EE359}" destId="{182C3393-B44E-40B8-8B9A-2277514339FA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692882-F2C7-4DED-94FE-41C8FED4C9D8}">
      <dsp:nvSpPr>
        <dsp:cNvPr id="0" name=""/>
        <dsp:cNvSpPr/>
      </dsp:nvSpPr>
      <dsp:spPr>
        <a:xfrm>
          <a:off x="6115249" y="3263190"/>
          <a:ext cx="3847550" cy="15356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V2X</a:t>
          </a:r>
          <a:endParaRPr lang="en-NL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Real-time data exchange</a:t>
          </a:r>
          <a:endParaRPr lang="en-NL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Enhance safety, TM</a:t>
          </a:r>
          <a:endParaRPr lang="en-NL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Planning of operation</a:t>
          </a:r>
          <a:endParaRPr lang="en-NL" sz="1500" kern="1200" dirty="0"/>
        </a:p>
      </dsp:txBody>
      <dsp:txXfrm>
        <a:off x="7303247" y="3680828"/>
        <a:ext cx="2625819" cy="1084248"/>
      </dsp:txXfrm>
    </dsp:sp>
    <dsp:sp modelId="{1F02E9FB-6B44-4AB5-A1B0-75BAB303893F}">
      <dsp:nvSpPr>
        <dsp:cNvPr id="0" name=""/>
        <dsp:cNvSpPr/>
      </dsp:nvSpPr>
      <dsp:spPr>
        <a:xfrm>
          <a:off x="735764" y="3242337"/>
          <a:ext cx="3847550" cy="15356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Quality, value</a:t>
          </a:r>
          <a:endParaRPr lang="en-NL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Training, V&amp;V</a:t>
          </a:r>
          <a:endParaRPr lang="en-NL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System reliability</a:t>
          </a:r>
          <a:endParaRPr lang="en-NL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Tools for data annotation</a:t>
          </a:r>
          <a:endParaRPr lang="en-NL" sz="1500" kern="1200" dirty="0"/>
        </a:p>
      </dsp:txBody>
      <dsp:txXfrm>
        <a:off x="769497" y="3659974"/>
        <a:ext cx="2625819" cy="1084248"/>
      </dsp:txXfrm>
    </dsp:sp>
    <dsp:sp modelId="{0983B7D4-4A6E-4027-B6AD-04889697AE63}">
      <dsp:nvSpPr>
        <dsp:cNvPr id="0" name=""/>
        <dsp:cNvSpPr/>
      </dsp:nvSpPr>
      <dsp:spPr>
        <a:xfrm>
          <a:off x="6094815" y="20853"/>
          <a:ext cx="3846650" cy="15356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Real time decision making</a:t>
          </a:r>
          <a:endParaRPr lang="en-NL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Vehicle design</a:t>
          </a:r>
          <a:endParaRPr lang="en-NL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Integration in UM system</a:t>
          </a:r>
          <a:endParaRPr lang="en-NL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(Charging) Strategies and tools</a:t>
          </a:r>
          <a:endParaRPr lang="en-NL" sz="1500" kern="1200" dirty="0"/>
        </a:p>
      </dsp:txBody>
      <dsp:txXfrm>
        <a:off x="7282543" y="54586"/>
        <a:ext cx="2625189" cy="1084248"/>
      </dsp:txXfrm>
    </dsp:sp>
    <dsp:sp modelId="{BDCCA1AF-F7D8-4DE8-B126-64997C7D2676}">
      <dsp:nvSpPr>
        <dsp:cNvPr id="0" name=""/>
        <dsp:cNvSpPr/>
      </dsp:nvSpPr>
      <dsp:spPr>
        <a:xfrm>
          <a:off x="798324" y="0"/>
          <a:ext cx="3847550" cy="15356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Stability</a:t>
          </a:r>
          <a:endParaRPr lang="en-NL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Secure vehicle control, data privacy, safety</a:t>
          </a:r>
          <a:endParaRPr lang="en-NL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System integrity</a:t>
          </a:r>
          <a:endParaRPr lang="en-NL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Data bias</a:t>
          </a:r>
          <a:endParaRPr lang="en-NL" sz="15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NL" sz="900" kern="1200"/>
        </a:p>
      </dsp:txBody>
      <dsp:txXfrm>
        <a:off x="832057" y="33733"/>
        <a:ext cx="2625819" cy="1084248"/>
      </dsp:txXfrm>
    </dsp:sp>
    <dsp:sp modelId="{95AE1063-1AB2-474A-B819-4DB463FE8A30}">
      <dsp:nvSpPr>
        <dsp:cNvPr id="0" name=""/>
        <dsp:cNvSpPr/>
      </dsp:nvSpPr>
      <dsp:spPr>
        <a:xfrm>
          <a:off x="3249462" y="273532"/>
          <a:ext cx="2077884" cy="2077884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yber sec. &amp; robust</a:t>
          </a:r>
          <a:endParaRPr lang="en-NL" sz="2400" kern="1200" dirty="0"/>
        </a:p>
      </dsp:txBody>
      <dsp:txXfrm>
        <a:off x="3858060" y="882130"/>
        <a:ext cx="1469286" cy="1469286"/>
      </dsp:txXfrm>
    </dsp:sp>
    <dsp:sp modelId="{7A48A8D1-A3D5-48A3-BDF1-48963171F7D3}">
      <dsp:nvSpPr>
        <dsp:cNvPr id="0" name=""/>
        <dsp:cNvSpPr/>
      </dsp:nvSpPr>
      <dsp:spPr>
        <a:xfrm rot="5400000">
          <a:off x="5423323" y="273532"/>
          <a:ext cx="2077884" cy="2077884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808" tIns="241808" rIns="241808" bIns="241808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/>
            <a:t>AI</a:t>
          </a:r>
          <a:endParaRPr lang="en-NL" sz="3400" kern="1200" dirty="0"/>
        </a:p>
      </dsp:txBody>
      <dsp:txXfrm rot="-5400000">
        <a:off x="5423323" y="882130"/>
        <a:ext cx="1469286" cy="1469286"/>
      </dsp:txXfrm>
    </dsp:sp>
    <dsp:sp modelId="{AF1E61E2-C426-481F-91E1-7650C7C9861E}">
      <dsp:nvSpPr>
        <dsp:cNvPr id="0" name=""/>
        <dsp:cNvSpPr/>
      </dsp:nvSpPr>
      <dsp:spPr>
        <a:xfrm rot="10800000">
          <a:off x="5423323" y="2447393"/>
          <a:ext cx="2077884" cy="2077884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808" tIns="241808" rIns="241808" bIns="241808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/>
            <a:t>Com. </a:t>
          </a:r>
          <a:r>
            <a:rPr lang="en-US" sz="3400" kern="1200"/>
            <a:t>Tech.</a:t>
          </a:r>
          <a:endParaRPr lang="en-NL" sz="3400" kern="1200"/>
        </a:p>
      </dsp:txBody>
      <dsp:txXfrm rot="10800000">
        <a:off x="5423323" y="2447393"/>
        <a:ext cx="1469286" cy="1469286"/>
      </dsp:txXfrm>
    </dsp:sp>
    <dsp:sp modelId="{26B302B3-99FC-4489-8545-2F62A64D6A83}">
      <dsp:nvSpPr>
        <dsp:cNvPr id="0" name=""/>
        <dsp:cNvSpPr/>
      </dsp:nvSpPr>
      <dsp:spPr>
        <a:xfrm rot="16200000">
          <a:off x="3249462" y="2447393"/>
          <a:ext cx="2077884" cy="2077884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808" tIns="241808" rIns="241808" bIns="241808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/>
            <a:t>Data</a:t>
          </a:r>
          <a:endParaRPr lang="en-NL" sz="3400" kern="1200"/>
        </a:p>
      </dsp:txBody>
      <dsp:txXfrm rot="5400000">
        <a:off x="3858060" y="2447393"/>
        <a:ext cx="1469286" cy="1469286"/>
      </dsp:txXfrm>
    </dsp:sp>
    <dsp:sp modelId="{31EE49C9-508F-4F76-9A8B-BE7CAED09CC1}">
      <dsp:nvSpPr>
        <dsp:cNvPr id="0" name=""/>
        <dsp:cNvSpPr/>
      </dsp:nvSpPr>
      <dsp:spPr>
        <a:xfrm>
          <a:off x="5016624" y="1967512"/>
          <a:ext cx="717422" cy="62384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2C3393-B44E-40B8-8B9A-2277514339FA}">
      <dsp:nvSpPr>
        <dsp:cNvPr id="0" name=""/>
        <dsp:cNvSpPr/>
      </dsp:nvSpPr>
      <dsp:spPr>
        <a:xfrm rot="10800000">
          <a:off x="5016624" y="2207452"/>
          <a:ext cx="717422" cy="62384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20731" cy="493474"/>
          </a:xfrm>
          <a:prstGeom prst="rect">
            <a:avLst/>
          </a:prstGeom>
        </p:spPr>
        <p:txBody>
          <a:bodyPr vert="horz" lIns="90964" tIns="45482" rIns="90964" bIns="4548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6635" y="1"/>
            <a:ext cx="2920731" cy="493474"/>
          </a:xfrm>
          <a:prstGeom prst="rect">
            <a:avLst/>
          </a:prstGeom>
        </p:spPr>
        <p:txBody>
          <a:bodyPr vert="horz" lIns="90964" tIns="45482" rIns="90964" bIns="45482" rtlCol="0"/>
          <a:lstStyle>
            <a:lvl1pPr algn="r">
              <a:defRPr sz="1200"/>
            </a:lvl1pPr>
          </a:lstStyle>
          <a:p>
            <a:fld id="{BDCD59B6-B096-4300-960B-07004F46581C}" type="datetimeFigureOut">
              <a:rPr lang="en-US" smtClean="0"/>
              <a:pPr/>
              <a:t>8/26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374435"/>
            <a:ext cx="2920731" cy="493474"/>
          </a:xfrm>
          <a:prstGeom prst="rect">
            <a:avLst/>
          </a:prstGeom>
        </p:spPr>
        <p:txBody>
          <a:bodyPr vert="horz" lIns="90964" tIns="45482" rIns="90964" bIns="4548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6635" y="9374435"/>
            <a:ext cx="2920731" cy="493474"/>
          </a:xfrm>
          <a:prstGeom prst="rect">
            <a:avLst/>
          </a:prstGeom>
        </p:spPr>
        <p:txBody>
          <a:bodyPr vert="horz" lIns="90964" tIns="45482" rIns="90964" bIns="45482" rtlCol="0" anchor="b"/>
          <a:lstStyle>
            <a:lvl1pPr algn="r">
              <a:defRPr sz="1200"/>
            </a:lvl1pPr>
          </a:lstStyle>
          <a:p>
            <a:fld id="{58634990-75D9-4EFE-A840-69AE8A589B4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5162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20731" cy="493474"/>
          </a:xfrm>
          <a:prstGeom prst="rect">
            <a:avLst/>
          </a:prstGeom>
        </p:spPr>
        <p:txBody>
          <a:bodyPr vert="horz" lIns="90964" tIns="45482" rIns="90964" bIns="4548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6635" y="1"/>
            <a:ext cx="2920731" cy="493474"/>
          </a:xfrm>
          <a:prstGeom prst="rect">
            <a:avLst/>
          </a:prstGeom>
        </p:spPr>
        <p:txBody>
          <a:bodyPr vert="horz" lIns="90964" tIns="45482" rIns="90964" bIns="45482" rtlCol="0"/>
          <a:lstStyle>
            <a:lvl1pPr algn="r">
              <a:defRPr sz="1200"/>
            </a:lvl1pPr>
          </a:lstStyle>
          <a:p>
            <a:fld id="{B802BFC2-0041-4CBD-B79E-D118839EA95F}" type="datetimeFigureOut">
              <a:rPr lang="en-US" smtClean="0"/>
              <a:pPr/>
              <a:t>8/2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8" y="739775"/>
            <a:ext cx="6583362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64" tIns="45482" rIns="90964" bIns="45482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895" y="4688007"/>
            <a:ext cx="5391150" cy="4441270"/>
          </a:xfrm>
          <a:prstGeom prst="rect">
            <a:avLst/>
          </a:prstGeom>
        </p:spPr>
        <p:txBody>
          <a:bodyPr vert="horz" lIns="90964" tIns="45482" rIns="90964" bIns="4548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374435"/>
            <a:ext cx="2920731" cy="493474"/>
          </a:xfrm>
          <a:prstGeom prst="rect">
            <a:avLst/>
          </a:prstGeom>
        </p:spPr>
        <p:txBody>
          <a:bodyPr vert="horz" lIns="90964" tIns="45482" rIns="90964" bIns="4548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6635" y="9374435"/>
            <a:ext cx="2920731" cy="493474"/>
          </a:xfrm>
          <a:prstGeom prst="rect">
            <a:avLst/>
          </a:prstGeom>
        </p:spPr>
        <p:txBody>
          <a:bodyPr vert="horz" lIns="90964" tIns="45482" rIns="90964" bIns="45482" rtlCol="0" anchor="b"/>
          <a:lstStyle>
            <a:lvl1pPr algn="r">
              <a:defRPr sz="1200"/>
            </a:lvl1pPr>
          </a:lstStyle>
          <a:p>
            <a:fld id="{BBEDD691-5AB9-44AA-BBDF-60A31617C6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4106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1AE7C-8A74-E442-8691-0321E22E9B77}" type="slidenum">
              <a:rPr lang="en-GB" smtClean="0"/>
              <a:pPr/>
              <a:t>1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8251" y="6428919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87C75F3A-94EE-9842-B011-75DEC30A4C2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Date Placeholder 3"/>
          <p:cNvSpPr txBox="1">
            <a:spLocks/>
          </p:cNvSpPr>
          <p:nvPr userDrawn="1"/>
        </p:nvSpPr>
        <p:spPr>
          <a:xfrm>
            <a:off x="1656388" y="6428919"/>
            <a:ext cx="1516565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ww.ertrac.org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3" name="Picture 12" descr="ERTRAC-Logo-PPT-FINAL.jpg">
            <a:extLst>
              <a:ext uri="{FF2B5EF4-FFF2-40B4-BE49-F238E27FC236}">
                <a16:creationId xmlns:a16="http://schemas.microsoft.com/office/drawing/2014/main" id="{6A04AC85-5423-414F-9F87-5C3CA23B93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373" y="519419"/>
            <a:ext cx="1543763" cy="1152062"/>
          </a:xfrm>
          <a:prstGeom prst="rect">
            <a:avLst/>
          </a:prstGeom>
        </p:spPr>
      </p:pic>
      <p:pic>
        <p:nvPicPr>
          <p:cNvPr id="14" name="Picture 13" descr="MASTER-PPT-Page-Graphics-05-01.jpg">
            <a:extLst>
              <a:ext uri="{FF2B5EF4-FFF2-40B4-BE49-F238E27FC236}">
                <a16:creationId xmlns:a16="http://schemas.microsoft.com/office/drawing/2014/main" id="{3974DC2A-C9A9-46C6-851A-B3B24F763E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37123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4676" y="2158612"/>
            <a:ext cx="8726589" cy="1270388"/>
          </a:xfrm>
        </p:spPr>
        <p:txBody>
          <a:bodyPr anchor="t">
            <a:noAutofit/>
          </a:bodyPr>
          <a:lstStyle>
            <a:lvl1pPr algn="l"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4676" y="3632697"/>
            <a:ext cx="6186531" cy="865958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rgbClr val="0D51A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br>
              <a:rPr lang="en-US" dirty="0"/>
            </a:br>
            <a:r>
              <a:rPr lang="en-US" dirty="0"/>
              <a:t>Presenter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55983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ANS FOND POL-Ertrac-Twitter_logo.png">
            <a:extLst>
              <a:ext uri="{FF2B5EF4-FFF2-40B4-BE49-F238E27FC236}">
                <a16:creationId xmlns:a16="http://schemas.microsoft.com/office/drawing/2014/main" id="{9EAB0535-9037-4BF5-B2FE-EC0C8CD29D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9406" y="122391"/>
            <a:ext cx="1067312" cy="1067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447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91344" y="260648"/>
            <a:ext cx="9793088" cy="504056"/>
          </a:xfrm>
        </p:spPr>
        <p:txBody>
          <a:bodyPr>
            <a:noAutofit/>
          </a:bodyPr>
          <a:lstStyle>
            <a:lvl1pPr marL="0" indent="0">
              <a:buNone/>
              <a:defRPr sz="2400" b="1" baseline="0">
                <a:solidFill>
                  <a:srgbClr val="28903B"/>
                </a:solidFill>
              </a:defRPr>
            </a:lvl1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84632" y="6600044"/>
            <a:ext cx="407368" cy="25795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BDC07CEB-BE3D-8A44-967E-C60155214EAE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5256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hContent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phSection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187569" y="115200"/>
            <a:ext cx="6688016" cy="140400"/>
          </a:xfrm>
        </p:spPr>
        <p:txBody>
          <a:bodyPr/>
          <a:lstStyle>
            <a:lvl1pPr marL="0" indent="0">
              <a:buNone/>
              <a:defRPr sz="100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noProof="0" dirty="0"/>
              <a:t>Click to add Section Title</a:t>
            </a:r>
          </a:p>
        </p:txBody>
      </p:sp>
      <p:sp>
        <p:nvSpPr>
          <p:cNvPr id="5" name="tl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87656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823">
          <p15:clr>
            <a:srgbClr val="A4A3A4"/>
          </p15:clr>
        </p15:guide>
        <p15:guide id="4" orient="horz" pos="4156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BE"/>
              <a:t>Cliquez pour modifier les styles du texte du masque</a:t>
            </a:r>
          </a:p>
          <a:p>
            <a:pPr lvl="1"/>
            <a:r>
              <a:rPr lang="nl-BE"/>
              <a:t>Deuxième niveau</a:t>
            </a:r>
          </a:p>
          <a:p>
            <a:pPr lvl="2"/>
            <a:r>
              <a:rPr lang="nl-BE"/>
              <a:t>Troisième niveau</a:t>
            </a:r>
          </a:p>
          <a:p>
            <a:pPr lvl="3"/>
            <a:r>
              <a:rPr lang="nl-BE"/>
              <a:t>Quatrième niveau</a:t>
            </a:r>
          </a:p>
          <a:p>
            <a:pPr lvl="4"/>
            <a:r>
              <a:rPr lang="nl-BE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CCA87-72D9-474F-B5B6-581E5D6F762B}" type="datetime1">
              <a:rPr lang="fr-FR" smtClean="0"/>
              <a:t>26/08/202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9347200" y="6492876"/>
            <a:ext cx="2844800" cy="365125"/>
          </a:xfrm>
        </p:spPr>
        <p:txBody>
          <a:bodyPr/>
          <a:lstStyle/>
          <a:p>
            <a:fld id="{0D4D9E44-C101-234D-9C6D-5849B74A1C5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95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hSection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187571" y="115200"/>
            <a:ext cx="6688016" cy="140400"/>
          </a:xfrm>
        </p:spPr>
        <p:txBody>
          <a:bodyPr/>
          <a:lstStyle>
            <a:lvl1pPr marL="0" indent="0">
              <a:buNone/>
              <a:defRPr sz="100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noProof="0" dirty="0"/>
              <a:t>Click to add Section Title</a:t>
            </a:r>
          </a:p>
        </p:txBody>
      </p:sp>
      <p:sp>
        <p:nvSpPr>
          <p:cNvPr id="2" name="tl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199795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7385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823">
          <p15:clr>
            <a:srgbClr val="A4A3A4"/>
          </p15:clr>
        </p15:guide>
        <p15:guide id="4" orient="horz" pos="4156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234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hContent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phSection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187569" y="115200"/>
            <a:ext cx="6688016" cy="140400"/>
          </a:xfrm>
        </p:spPr>
        <p:txBody>
          <a:bodyPr/>
          <a:lstStyle>
            <a:lvl1pPr marL="0" indent="0">
              <a:buNone/>
              <a:defRPr sz="100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noProof="0" dirty="0"/>
              <a:t>Click to add Section Title</a:t>
            </a:r>
          </a:p>
        </p:txBody>
      </p:sp>
      <p:sp>
        <p:nvSpPr>
          <p:cNvPr id="5" name="tl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85530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823">
          <p15:clr>
            <a:srgbClr val="A4A3A4"/>
          </p15:clr>
        </p15:guide>
        <p15:guide id="4" orient="horz" pos="4156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05297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hSection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187569" y="115200"/>
            <a:ext cx="6688016" cy="140400"/>
          </a:xfrm>
        </p:spPr>
        <p:txBody>
          <a:bodyPr/>
          <a:lstStyle>
            <a:lvl1pPr marL="0" indent="0">
              <a:buNone/>
              <a:defRPr sz="100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noProof="0" dirty="0"/>
              <a:t>Click to add Section Title</a:t>
            </a:r>
          </a:p>
        </p:txBody>
      </p:sp>
      <p:sp>
        <p:nvSpPr>
          <p:cNvPr id="6" name="tl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2014798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7384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823">
          <p15:clr>
            <a:srgbClr val="A4A3A4"/>
          </p15:clr>
        </p15:guide>
        <p15:guide id="4" orient="horz" pos="4156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BE"/>
              <a:t>Cliquez pour modifier les styles du texte du masque</a:t>
            </a:r>
          </a:p>
          <a:p>
            <a:pPr lvl="1"/>
            <a:r>
              <a:rPr lang="nl-BE"/>
              <a:t>Deuxième niveau</a:t>
            </a:r>
          </a:p>
          <a:p>
            <a:pPr lvl="2"/>
            <a:r>
              <a:rPr lang="nl-BE"/>
              <a:t>Troisième niveau</a:t>
            </a:r>
          </a:p>
          <a:p>
            <a:pPr lvl="3"/>
            <a:r>
              <a:rPr lang="nl-BE"/>
              <a:t>Quatrième niveau</a:t>
            </a:r>
          </a:p>
          <a:p>
            <a:pPr lvl="4"/>
            <a:r>
              <a:rPr lang="nl-BE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CCA87-72D9-474F-B5B6-581E5D6F762B}" type="datetime1">
              <a:rPr lang="fr-FR" smtClean="0"/>
              <a:t>26/08/2025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9347200" y="6492876"/>
            <a:ext cx="2844800" cy="365125"/>
          </a:xfrm>
        </p:spPr>
        <p:txBody>
          <a:bodyPr/>
          <a:lstStyle/>
          <a:p>
            <a:fld id="{0D4D9E44-C101-234D-9C6D-5849B74A1C52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52037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65997"/>
            <a:ext cx="10972800" cy="1143000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3940" y="6428919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fld id="{87C75F3A-94EE-9842-B011-75DEC30A4C2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28919"/>
            <a:ext cx="1516565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fld id="{8B8F6599-C309-A847-9111-FE24503DEC18}" type="datetime1">
              <a:rPr lang="en-GB" smtClean="0"/>
              <a:pPr/>
              <a:t>26/08/20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10051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hSection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187569" y="115200"/>
            <a:ext cx="6688016" cy="140400"/>
          </a:xfrm>
        </p:spPr>
        <p:txBody>
          <a:bodyPr/>
          <a:lstStyle>
            <a:lvl1pPr marL="0" indent="0">
              <a:buNone/>
              <a:defRPr sz="100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noProof="0" dirty="0"/>
              <a:t>Click to add Section Title</a:t>
            </a:r>
          </a:p>
        </p:txBody>
      </p:sp>
      <p:sp>
        <p:nvSpPr>
          <p:cNvPr id="6" name="tl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3169032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7384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823">
          <p15:clr>
            <a:srgbClr val="A4A3A4"/>
          </p15:clr>
        </p15:guide>
        <p15:guide id="4" orient="horz" pos="4156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hSection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187569" y="115200"/>
            <a:ext cx="6688016" cy="140400"/>
          </a:xfrm>
        </p:spPr>
        <p:txBody>
          <a:bodyPr/>
          <a:lstStyle>
            <a:lvl1pPr marL="0" indent="0">
              <a:buNone/>
              <a:defRPr sz="100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noProof="0" dirty="0"/>
              <a:t>Click to add Section Title</a:t>
            </a:r>
          </a:p>
        </p:txBody>
      </p:sp>
      <p:sp>
        <p:nvSpPr>
          <p:cNvPr id="6" name="tl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7636616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7384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823">
          <p15:clr>
            <a:srgbClr val="A4A3A4"/>
          </p15:clr>
        </p15:guide>
        <p15:guide id="4" orient="horz" pos="4156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" t="17744" r="1875" b="8922"/>
          <a:stretch/>
        </p:blipFill>
        <p:spPr>
          <a:xfrm>
            <a:off x="76200" y="1230086"/>
            <a:ext cx="12065000" cy="5170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7106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ASTER-PPT-Page-Graphics-05-0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65997"/>
            <a:ext cx="10972800" cy="1143000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3940" y="6428919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7C75F3A-94EE-9842-B011-75DEC30A4C2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28919"/>
            <a:ext cx="1516565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B8F6599-C309-A847-9111-FE24503DEC18}" type="datetime1">
              <a:rPr lang="en-GB" smtClean="0"/>
              <a:pPr/>
              <a:t>26/08/2025</a:t>
            </a:fld>
            <a:endParaRPr lang="en-GB" dirty="0"/>
          </a:p>
        </p:txBody>
      </p:sp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1656388" y="6428919"/>
            <a:ext cx="1516565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ww.ertrac.org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0" name="Picture 9" descr="ERTRAC-Logo-PPT-FINAL.jpg">
            <a:extLst>
              <a:ext uri="{FF2B5EF4-FFF2-40B4-BE49-F238E27FC236}">
                <a16:creationId xmlns:a16="http://schemas.microsoft.com/office/drawing/2014/main" id="{2C0FC638-6E89-4691-82E4-577594C172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3572" y="5938827"/>
            <a:ext cx="1014488" cy="757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1597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ASTER-PPT-Page-Graphics-05-04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65997"/>
            <a:ext cx="10972800" cy="1143000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3940" y="6428919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87C75F3A-94EE-9842-B011-75DEC30A4C2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28919"/>
            <a:ext cx="1516565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8B8F6599-C309-A847-9111-FE24503DEC18}" type="datetime1">
              <a:rPr lang="en-GB" smtClean="0"/>
              <a:pPr/>
              <a:t>26/08/2025</a:t>
            </a:fld>
            <a:endParaRPr lang="en-GB" dirty="0"/>
          </a:p>
        </p:txBody>
      </p:sp>
      <p:sp>
        <p:nvSpPr>
          <p:cNvPr id="14" name="Date Placeholder 3"/>
          <p:cNvSpPr txBox="1">
            <a:spLocks/>
          </p:cNvSpPr>
          <p:nvPr userDrawn="1"/>
        </p:nvSpPr>
        <p:spPr>
          <a:xfrm>
            <a:off x="1656388" y="6428919"/>
            <a:ext cx="1516565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ww.ertrac.org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0" name="Picture 9" descr="ERTRAC-Logo-PPT-FINAL.jpg">
            <a:extLst>
              <a:ext uri="{FF2B5EF4-FFF2-40B4-BE49-F238E27FC236}">
                <a16:creationId xmlns:a16="http://schemas.microsoft.com/office/drawing/2014/main" id="{10AE4C8D-024B-40AC-88F3-8ECD829CA90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3572" y="5938827"/>
            <a:ext cx="1014488" cy="757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8178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ASTER-PPT-Page-Graphics-05-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65997"/>
            <a:ext cx="9487629" cy="1143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9487629" cy="45259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3940" y="6428919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7C75F3A-94EE-9842-B011-75DEC30A4C2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28919"/>
            <a:ext cx="1516565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B8F6599-C309-A847-9111-FE24503DEC18}" type="datetime1">
              <a:rPr lang="en-GB" smtClean="0"/>
              <a:pPr/>
              <a:t>26/08/2025</a:t>
            </a:fld>
            <a:endParaRPr lang="en-GB" dirty="0"/>
          </a:p>
        </p:txBody>
      </p:sp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1656388" y="6428919"/>
            <a:ext cx="1516565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ww.ertrac.org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0" name="Picture 9" descr="ERTRAC-Logo-PPT-FINAL.jpg">
            <a:extLst>
              <a:ext uri="{FF2B5EF4-FFF2-40B4-BE49-F238E27FC236}">
                <a16:creationId xmlns:a16="http://schemas.microsoft.com/office/drawing/2014/main" id="{30AB854F-6A1A-476E-8E94-5FF0598E0D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3572" y="5938827"/>
            <a:ext cx="1014488" cy="757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5536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STER-PPT-Page-Graphics-05-05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65997"/>
            <a:ext cx="9425377" cy="1143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00201"/>
            <a:ext cx="9425377" cy="45259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3940" y="6428919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7C75F3A-94EE-9842-B011-75DEC30A4C2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28919"/>
            <a:ext cx="1516565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B8F6599-C309-A847-9111-FE24503DEC18}" type="datetime1">
              <a:rPr lang="en-GB" smtClean="0"/>
              <a:pPr/>
              <a:t>26/08/2025</a:t>
            </a:fld>
            <a:endParaRPr lang="en-GB" dirty="0"/>
          </a:p>
        </p:txBody>
      </p:sp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1656388" y="6428919"/>
            <a:ext cx="1516565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ww.ertrac.org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Picture 10" descr="ERTRAC-Logo-PPT-FINAL.jpg">
            <a:extLst>
              <a:ext uri="{FF2B5EF4-FFF2-40B4-BE49-F238E27FC236}">
                <a16:creationId xmlns:a16="http://schemas.microsoft.com/office/drawing/2014/main" id="{32F24060-A0AA-44BC-87AB-2C6EE3ED8B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3572" y="5938827"/>
            <a:ext cx="1014488" cy="757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645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5371355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hContent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phSection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187569" y="115200"/>
            <a:ext cx="6688016" cy="140400"/>
          </a:xfrm>
        </p:spPr>
        <p:txBody>
          <a:bodyPr/>
          <a:lstStyle>
            <a:lvl1pPr marL="0" indent="0">
              <a:buNone/>
              <a:defRPr sz="100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noProof="0" dirty="0"/>
              <a:t>Click to add Section Title</a:t>
            </a:r>
          </a:p>
        </p:txBody>
      </p:sp>
      <p:sp>
        <p:nvSpPr>
          <p:cNvPr id="5" name="tl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46091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823">
          <p15:clr>
            <a:srgbClr val="A4A3A4"/>
          </p15:clr>
        </p15:guide>
        <p15:guide id="4" orient="horz" pos="4156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pour modifier le style du titre</a:t>
            </a:r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07799986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3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0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57038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532" imgH="530" progId="TCLayout.ActiveDocument.1">
                  <p:embed/>
                </p:oleObj>
              </mc:Choice>
              <mc:Fallback>
                <p:oleObj name="think-cell Folie" r:id="rId12" imgW="532" imgH="53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6605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28919"/>
            <a:ext cx="1516565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7C3426CD-DB3B-464B-8317-2AECA14A16CB}" type="datetime1">
              <a:rPr lang="en-GB" smtClean="0"/>
              <a:pPr/>
              <a:t>26/08/2025</a:t>
            </a:fld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8251" y="6428919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87C75F3A-94EE-9842-B011-75DEC30A4C2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2735765" y="6428919"/>
            <a:ext cx="2923663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1656388" y="6428919"/>
            <a:ext cx="1516565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ww.ertrac.org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Picture 10" descr="ERTRAC-Logo-PPT-FINAL.jpg">
            <a:extLst>
              <a:ext uri="{FF2B5EF4-FFF2-40B4-BE49-F238E27FC236}">
                <a16:creationId xmlns:a16="http://schemas.microsoft.com/office/drawing/2014/main" id="{24E2D9E8-7DF2-40E5-84DE-209E791B1A28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5333" y="5789367"/>
            <a:ext cx="1138615" cy="849713"/>
          </a:xfrm>
          <a:prstGeom prst="rect">
            <a:avLst/>
          </a:prstGeom>
        </p:spPr>
      </p:pic>
      <p:sp>
        <p:nvSpPr>
          <p:cNvPr id="4" name="MSIPCMContentMarking" descr="{&quot;HashCode&quot;:1622173095,&quot;Placement&quot;:&quot;Footer&quot;,&quot;Top&quot;:522.862549,&quot;Left&quot;:0.0,&quot;SlideWidth&quot;:960,&quot;SlideHeight&quot;:540}"/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961022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9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26" r:id="rId8"/>
    <p:sldLayoutId id="2147484241" r:id="rId9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75000"/>
              <a:lumOff val="25000"/>
            </a:schemeClr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D51A0"/>
        </a:buClr>
        <a:buFont typeface="Arial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D51A0"/>
        </a:buClr>
        <a:buFont typeface="Arial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0D51A0"/>
        </a:buClr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0D51A0"/>
        </a:buClr>
        <a:buFont typeface="Arial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0D51A0"/>
        </a:buClr>
        <a:buFont typeface="Arial"/>
        <a:buChar char="»"/>
        <a:defRPr sz="18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1790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532" imgH="530" progId="TCLayout.ActiveDocument.1">
                  <p:embed/>
                </p:oleObj>
              </mc:Choice>
              <mc:Fallback>
                <p:oleObj name="think-cell Folie" r:id="rId9" imgW="532" imgH="53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E24027-D846-4F98-8813-D913231ED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42CFB-0BBE-419E-8631-99D16A665E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846F1A-D414-4514-8246-0ADF2E9683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981285-1619-4E28-8962-5339D1882247}" type="datetimeFigureOut">
              <a:rPr lang="en-GB" smtClean="0"/>
              <a:t>26/08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C4D95-4ECD-4EE5-B920-ADACDF0693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637ECD-241D-4C01-A074-758DE05F7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48F618-DE6A-43C5-91D9-A1DA2092F72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MSIPCMContentMarking" descr="{&quot;HashCode&quot;:1622173095,&quot;Placement&quot;:&quot;Footer&quot;,&quot;Top&quot;:522.862549,&quot;Left&quot;:0.0,&quot;SlideWidth&quot;:960,&quot;SlideHeight&quot;:540}"/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633159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25" r:id="rId2"/>
    <p:sldLayoutId id="2147484227" r:id="rId3"/>
    <p:sldLayoutId id="2147484228" r:id="rId4"/>
    <p:sldLayoutId id="2147484230" r:id="rId5"/>
    <p:sldLayoutId id="214748423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43815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532" imgH="530" progId="TCLayout.ActiveDocument.1">
                  <p:embed/>
                </p:oleObj>
              </mc:Choice>
              <mc:Fallback>
                <p:oleObj name="think-cell Folie" r:id="rId10" imgW="532" imgH="53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Stripe"/>
          <p:cNvSpPr/>
          <p:nvPr userDrawn="1"/>
        </p:nvSpPr>
        <p:spPr bwMode="auto">
          <a:xfrm>
            <a:off x="0" y="6735600"/>
            <a:ext cx="12192000" cy="122400"/>
          </a:xfrm>
          <a:prstGeom prst="rect">
            <a:avLst/>
          </a:prstGeom>
          <a:solidFill>
            <a:srgbClr val="006BB7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20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bPageNum"/>
          <p:cNvSpPr txBox="1">
            <a:spLocks noChangeArrowheads="1"/>
          </p:cNvSpPr>
          <p:nvPr userDrawn="1"/>
        </p:nvSpPr>
        <p:spPr bwMode="white">
          <a:xfrm>
            <a:off x="11707872" y="6735600"/>
            <a:ext cx="339547" cy="122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 defTabSz="762019">
              <a:lnSpc>
                <a:spcPct val="90000"/>
              </a:lnSpc>
              <a:spcBef>
                <a:spcPts val="0"/>
              </a:spcBef>
            </a:pPr>
            <a:fld id="{BC0CAB5C-00C8-41AE-9AF4-BF935A011671}" type="slidenum">
              <a:rPr lang="en-GB" sz="800" b="0" noProof="0" smtClean="0">
                <a:solidFill>
                  <a:schemeClr val="bg1"/>
                </a:solidFill>
              </a:rPr>
              <a:pPr algn="r" defTabSz="762019"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800" b="0" noProof="0" dirty="0">
              <a:solidFill>
                <a:schemeClr val="bg1"/>
              </a:solidFill>
            </a:endParaRPr>
          </a:p>
        </p:txBody>
      </p:sp>
      <p:sp>
        <p:nvSpPr>
          <p:cNvPr id="15" name="tbDate"/>
          <p:cNvSpPr txBox="1">
            <a:spLocks noChangeArrowheads="1"/>
          </p:cNvSpPr>
          <p:nvPr userDrawn="1"/>
        </p:nvSpPr>
        <p:spPr bwMode="white">
          <a:xfrm>
            <a:off x="9145108" y="6735600"/>
            <a:ext cx="2562762" cy="122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180000" tIns="0" rIns="0" bIns="0" anchor="ctr"/>
          <a:lstStyle/>
          <a:p>
            <a:pPr algn="l" defTabSz="762019">
              <a:lnSpc>
                <a:spcPct val="90000"/>
              </a:lnSpc>
              <a:spcBef>
                <a:spcPts val="0"/>
              </a:spcBef>
            </a:pPr>
            <a:r>
              <a:rPr lang="en-GB" sz="800" b="0" noProof="0" dirty="0">
                <a:solidFill>
                  <a:schemeClr val="bg1"/>
                </a:solidFill>
              </a:rPr>
              <a:t>September 2019</a:t>
            </a:r>
          </a:p>
        </p:txBody>
      </p:sp>
      <p:sp>
        <p:nvSpPr>
          <p:cNvPr id="16" name="tbProjNum"/>
          <p:cNvSpPr txBox="1">
            <a:spLocks noChangeArrowheads="1"/>
          </p:cNvSpPr>
          <p:nvPr userDrawn="1"/>
        </p:nvSpPr>
        <p:spPr bwMode="white">
          <a:xfrm>
            <a:off x="5061412" y="6735600"/>
            <a:ext cx="2032986" cy="122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762019">
              <a:lnSpc>
                <a:spcPct val="90000"/>
              </a:lnSpc>
              <a:spcBef>
                <a:spcPts val="0"/>
              </a:spcBef>
            </a:pPr>
            <a:r>
              <a:rPr lang="en-GB" sz="800" b="0" noProof="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7" name="tbDocNum"/>
          <p:cNvSpPr txBox="1">
            <a:spLocks noChangeArrowheads="1"/>
          </p:cNvSpPr>
          <p:nvPr userDrawn="1"/>
        </p:nvSpPr>
        <p:spPr bwMode="white">
          <a:xfrm>
            <a:off x="7094399" y="6735600"/>
            <a:ext cx="2032986" cy="122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180000" bIns="0" anchor="ctr"/>
          <a:lstStyle/>
          <a:p>
            <a:pPr algn="r" defTabSz="762019">
              <a:lnSpc>
                <a:spcPct val="90000"/>
              </a:lnSpc>
              <a:spcBef>
                <a:spcPts val="0"/>
              </a:spcBef>
            </a:pPr>
            <a:r>
              <a:rPr lang="en-GB" sz="800" b="0" noProof="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9" name="tbCopyright"/>
          <p:cNvSpPr txBox="1">
            <a:spLocks noChangeArrowheads="1"/>
          </p:cNvSpPr>
          <p:nvPr userDrawn="1"/>
        </p:nvSpPr>
        <p:spPr bwMode="white">
          <a:xfrm>
            <a:off x="187565" y="6735600"/>
            <a:ext cx="1329231" cy="122400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/>
          <a:lstStyle/>
          <a:p>
            <a:pPr algn="l" defTabSz="762019">
              <a:lnSpc>
                <a:spcPct val="90000"/>
              </a:lnSpc>
              <a:spcBef>
                <a:spcPts val="0"/>
              </a:spcBef>
            </a:pPr>
            <a:r>
              <a:rPr lang="en-GB" sz="800" b="0" noProof="0" dirty="0">
                <a:solidFill>
                  <a:srgbClr val="FFFFFF"/>
                </a:solidFill>
              </a:rPr>
              <a:t>© Ricardo plc 2019</a:t>
            </a:r>
          </a:p>
        </p:txBody>
      </p:sp>
      <p:sp>
        <p:nvSpPr>
          <p:cNvPr id="718850" name="recContent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0326" y="1108038"/>
            <a:ext cx="11431347" cy="548961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18852" name="recTitle"/>
          <p:cNvSpPr>
            <a:spLocks noGrp="1" noChangeArrowheads="1"/>
          </p:cNvSpPr>
          <p:nvPr>
            <p:ph type="title"/>
          </p:nvPr>
        </p:nvSpPr>
        <p:spPr bwMode="auto">
          <a:xfrm>
            <a:off x="380326" y="251012"/>
            <a:ext cx="10033455" cy="43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THIS IS THE SLIDE MASTER - EDIT HEADER &amp; FOOTER HERE</a:t>
            </a:r>
          </a:p>
        </p:txBody>
      </p:sp>
      <p:sp>
        <p:nvSpPr>
          <p:cNvPr id="718858" name="tbDraft"/>
          <p:cNvSpPr txBox="1">
            <a:spLocks noChangeArrowheads="1"/>
          </p:cNvSpPr>
          <p:nvPr/>
        </p:nvSpPr>
        <p:spPr bwMode="auto">
          <a:xfrm>
            <a:off x="6031521" y="5"/>
            <a:ext cx="4382476" cy="29929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square" lIns="0" tIns="72000" rIns="0" bIns="72000">
            <a:spAutoFit/>
          </a:bodyPr>
          <a:lstStyle/>
          <a:p>
            <a:pPr algn="r" defTabSz="762019">
              <a:spcBef>
                <a:spcPct val="50000"/>
              </a:spcBef>
            </a:pPr>
            <a:r>
              <a:rPr lang="en-GB" sz="1000" b="1" noProof="0" dirty="0">
                <a:solidFill>
                  <a:srgbClr val="DC241F"/>
                </a:solidFill>
              </a:rPr>
              <a:t> </a:t>
            </a:r>
          </a:p>
        </p:txBody>
      </p:sp>
      <p:pic>
        <p:nvPicPr>
          <p:cNvPr id="20" name="picLogo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1051023" y="313551"/>
            <a:ext cx="760651" cy="49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MSIPCMContentMarking" descr="{&quot;HashCode&quot;:1622173095,&quot;Placement&quot;:&quot;Footer&quot;,&quot;Top&quot;:522.862549,&quot;Left&quot;:0.0,&quot;SlideWidth&quot;:960,&quot;SlideHeight&quot;:540}"/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8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904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37" r:id="rId4"/>
    <p:sldLayoutId id="2147484238" r:id="rId5"/>
    <p:sldLayoutId id="2147484239" r:id="rId6"/>
    <p:sldLayoutId id="2147484240" r:id="rId7"/>
  </p:sldLayoutIdLst>
  <p:transition/>
  <p:txStyles>
    <p:titleStyle>
      <a:lvl1pPr algn="l" defTabSz="361959" rtl="0" eaLnBrk="1" fontAlgn="base" hangingPunct="1">
        <a:spcBef>
          <a:spcPct val="0"/>
        </a:spcBef>
        <a:spcAft>
          <a:spcPct val="0"/>
        </a:spcAft>
        <a:defRPr sz="2800" b="0" baseline="0">
          <a:solidFill>
            <a:srgbClr val="006BB7"/>
          </a:solidFill>
          <a:latin typeface="Myriad Pro Light" panose="020B0403030403020204" pitchFamily="34" charset="0"/>
          <a:ea typeface="+mj-ea"/>
          <a:cs typeface="+mj-cs"/>
        </a:defRPr>
      </a:lvl1pPr>
      <a:lvl2pPr algn="l" defTabSz="36195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2pPr>
      <a:lvl3pPr algn="l" defTabSz="36195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3pPr>
      <a:lvl4pPr algn="l" defTabSz="36195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4pPr>
      <a:lvl5pPr algn="l" defTabSz="36195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5pPr>
      <a:lvl6pPr marL="457212" algn="l" defTabSz="36195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6pPr>
      <a:lvl7pPr marL="914423" algn="l" defTabSz="36195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7pPr>
      <a:lvl8pPr marL="1371634" algn="l" defTabSz="36195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8pPr>
      <a:lvl9pPr marL="1828846" algn="l" defTabSz="36195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9pPr>
    </p:titleStyle>
    <p:bodyStyle>
      <a:lvl1pPr marL="270007" indent="-270007" algn="l" defTabSz="457212" rtl="0" eaLnBrk="1" fontAlgn="base" hangingPunct="1">
        <a:spcBef>
          <a:spcPts val="1000"/>
        </a:spcBef>
        <a:spcAft>
          <a:spcPct val="0"/>
        </a:spcAft>
        <a:buClr>
          <a:srgbClr val="A7A9AC"/>
        </a:buClr>
        <a:buSzPct val="100000"/>
        <a:buFont typeface="Arial" pitchFamily="34" charset="-79"/>
        <a:buChar char="•"/>
        <a:defRPr>
          <a:solidFill>
            <a:srgbClr val="000000"/>
          </a:solidFill>
          <a:latin typeface="Myriad Pro Light" panose="020B0403030403020204" pitchFamily="34" charset="0"/>
          <a:ea typeface="+mn-ea"/>
          <a:cs typeface="+mn-cs"/>
        </a:defRPr>
      </a:lvl1pPr>
      <a:lvl2pPr marL="540014" indent="-269882" algn="l" defTabSz="457212" rtl="0" eaLnBrk="1" fontAlgn="base" hangingPunct="1">
        <a:spcBef>
          <a:spcPts val="500"/>
        </a:spcBef>
        <a:spcAft>
          <a:spcPct val="0"/>
        </a:spcAft>
        <a:buClr>
          <a:srgbClr val="A7A9AC"/>
        </a:buClr>
        <a:buSzPct val="100000"/>
        <a:buChar char="–"/>
        <a:defRPr>
          <a:solidFill>
            <a:srgbClr val="000000"/>
          </a:solidFill>
          <a:latin typeface="Myriad Pro Light" panose="020B0403030403020204" pitchFamily="34" charset="0"/>
        </a:defRPr>
      </a:lvl2pPr>
      <a:lvl3pPr marL="809645" indent="-270007" algn="l" defTabSz="457212" rtl="0" eaLnBrk="1" fontAlgn="base" hangingPunct="1">
        <a:spcBef>
          <a:spcPts val="500"/>
        </a:spcBef>
        <a:spcAft>
          <a:spcPct val="0"/>
        </a:spcAft>
        <a:buClr>
          <a:srgbClr val="A7A9AC"/>
        </a:buClr>
        <a:buSzPct val="100000"/>
        <a:buChar char="•"/>
        <a:defRPr>
          <a:solidFill>
            <a:srgbClr val="000000"/>
          </a:solidFill>
          <a:latin typeface="Myriad Pro Light" panose="020B0403030403020204" pitchFamily="34" charset="0"/>
        </a:defRPr>
      </a:lvl3pPr>
      <a:lvl4pPr marL="1080027" indent="-270007" algn="l" defTabSz="457212" rtl="0" eaLnBrk="1" fontAlgn="base" hangingPunct="1">
        <a:spcBef>
          <a:spcPts val="500"/>
        </a:spcBef>
        <a:spcAft>
          <a:spcPct val="0"/>
        </a:spcAft>
        <a:buClr>
          <a:srgbClr val="A7A9AC"/>
        </a:buClr>
        <a:buSzPct val="100000"/>
        <a:buChar char="–"/>
        <a:defRPr>
          <a:solidFill>
            <a:srgbClr val="000000"/>
          </a:solidFill>
          <a:latin typeface="Myriad Pro Light" panose="020B0403030403020204" pitchFamily="34" charset="0"/>
        </a:defRPr>
      </a:lvl4pPr>
      <a:lvl5pPr marL="1350034" indent="-268295" algn="l" defTabSz="457212" rtl="0" eaLnBrk="1" fontAlgn="base" hangingPunct="1">
        <a:spcBef>
          <a:spcPts val="500"/>
        </a:spcBef>
        <a:spcAft>
          <a:spcPct val="0"/>
        </a:spcAft>
        <a:buClr>
          <a:srgbClr val="A7A9AC"/>
        </a:buClr>
        <a:buSzPct val="100000"/>
        <a:buChar char="•"/>
        <a:defRPr>
          <a:solidFill>
            <a:srgbClr val="000000"/>
          </a:solidFill>
          <a:latin typeface="Myriad Pro Light" panose="020B0403030403020204" pitchFamily="34" charset="0"/>
        </a:defRPr>
      </a:lvl5pPr>
      <a:lvl6pPr marL="1817733" indent="-268295" algn="l" defTabSz="457212" rtl="0" eaLnBrk="1" fontAlgn="base" hangingPunct="1">
        <a:spcBef>
          <a:spcPct val="25000"/>
        </a:spcBef>
        <a:spcAft>
          <a:spcPct val="0"/>
        </a:spcAft>
        <a:buClr>
          <a:schemeClr val="accent2"/>
        </a:buClr>
        <a:buSzPct val="100000"/>
        <a:buChar char="•"/>
        <a:defRPr>
          <a:solidFill>
            <a:schemeClr val="tx1"/>
          </a:solidFill>
          <a:latin typeface="+mn-lt"/>
        </a:defRPr>
      </a:lvl6pPr>
      <a:lvl7pPr marL="2274945" indent="-268295" algn="l" defTabSz="457212" rtl="0" eaLnBrk="1" fontAlgn="base" hangingPunct="1">
        <a:spcBef>
          <a:spcPct val="25000"/>
        </a:spcBef>
        <a:spcAft>
          <a:spcPct val="0"/>
        </a:spcAft>
        <a:buClr>
          <a:schemeClr val="accent2"/>
        </a:buClr>
        <a:buSzPct val="100000"/>
        <a:buChar char="•"/>
        <a:defRPr>
          <a:solidFill>
            <a:schemeClr val="tx1"/>
          </a:solidFill>
          <a:latin typeface="+mn-lt"/>
        </a:defRPr>
      </a:lvl7pPr>
      <a:lvl8pPr marL="2732156" indent="-268295" algn="l" defTabSz="457212" rtl="0" eaLnBrk="1" fontAlgn="base" hangingPunct="1">
        <a:spcBef>
          <a:spcPct val="25000"/>
        </a:spcBef>
        <a:spcAft>
          <a:spcPct val="0"/>
        </a:spcAft>
        <a:buClr>
          <a:schemeClr val="accent2"/>
        </a:buClr>
        <a:buSzPct val="100000"/>
        <a:buChar char="•"/>
        <a:defRPr>
          <a:solidFill>
            <a:schemeClr val="tx1"/>
          </a:solidFill>
          <a:latin typeface="+mn-lt"/>
        </a:defRPr>
      </a:lvl8pPr>
      <a:lvl9pPr marL="3189368" indent="-268295" algn="l" defTabSz="457212" rtl="0" eaLnBrk="1" fontAlgn="base" hangingPunct="1">
        <a:spcBef>
          <a:spcPct val="25000"/>
        </a:spcBef>
        <a:spcAft>
          <a:spcPct val="0"/>
        </a:spcAft>
        <a:buClr>
          <a:schemeClr val="accent2"/>
        </a:buClr>
        <a:buSzPct val="100000"/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rtrac.org/" TargetMode="External"/><Relationship Id="rId2" Type="http://schemas.openxmlformats.org/officeDocument/2006/relationships/hyperlink" Target="mailto:Xavier.aertsens@ertrac.org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96905"/>
            <a:ext cx="8296941" cy="2892055"/>
          </a:xfrm>
        </p:spPr>
        <p:txBody>
          <a:bodyPr/>
          <a:lstStyle/>
          <a:p>
            <a:br>
              <a:rPr lang="en-GB" sz="1800" dirty="0"/>
            </a:br>
            <a:br>
              <a:rPr lang="en-GB" sz="2800" dirty="0"/>
            </a:br>
            <a:r>
              <a:rPr lang="en-GB" sz="2400" b="1" dirty="0">
                <a:solidFill>
                  <a:srgbClr val="0D51A0"/>
                </a:solidFill>
              </a:rPr>
              <a:t>ERTRAC</a:t>
            </a:r>
            <a:br>
              <a:rPr lang="en-GB" sz="2400" b="1" dirty="0"/>
            </a:br>
            <a:r>
              <a:rPr lang="en-GB" sz="2400" b="1" dirty="0">
                <a:solidFill>
                  <a:srgbClr val="89BD23"/>
                </a:solidFill>
              </a:rPr>
              <a:t>Overview of Working Group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457200" y="6428924"/>
            <a:ext cx="1137424" cy="365125"/>
          </a:xfrm>
          <a:prstGeom prst="rect">
            <a:avLst/>
          </a:prstGeom>
        </p:spPr>
        <p:txBody>
          <a:bodyPr lIns="91421" tIns="45711" rIns="91421" bIns="45711"/>
          <a:lstStyle>
            <a:defPPr>
              <a:defRPr lang="en-GB"/>
            </a:defPPr>
            <a:lvl1pPr marL="0" algn="l" defTabSz="457106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106" algn="l" defTabSz="45710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2" algn="l" defTabSz="45710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0" algn="l" defTabSz="45710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26" algn="l" defTabSz="45710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32" algn="l" defTabSz="45710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40" algn="l" defTabSz="45710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44" algn="l" defTabSz="45710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52" algn="l" defTabSz="45710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C3426CD-DB3B-464B-8317-2AECA14A16CB}" type="datetime1">
              <a:rPr lang="en-GB" smtClean="0"/>
              <a:pPr/>
              <a:t>26/08/2025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7C75F3A-94EE-9842-B011-75DEC30A4C24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5" name="Sous-titre 4">
            <a:extLst>
              <a:ext uri="{FF2B5EF4-FFF2-40B4-BE49-F238E27FC236}">
                <a16:creationId xmlns:a16="http://schemas.microsoft.com/office/drawing/2014/main" id="{9BC49F10-AE9A-B048-AFD4-C1FAB54E08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4688957"/>
            <a:ext cx="6068986" cy="865958"/>
          </a:xfrm>
        </p:spPr>
        <p:txBody>
          <a:bodyPr/>
          <a:lstStyle/>
          <a:p>
            <a:r>
              <a:rPr lang="en-GB" dirty="0"/>
              <a:t>STREnGth_M webinar</a:t>
            </a:r>
          </a:p>
          <a:p>
            <a:r>
              <a:rPr lang="en-GB" dirty="0"/>
              <a:t>03 September 2025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Espace réservé du contenu 4"/>
          <p:cNvSpPr>
            <a:spLocks noGrp="1"/>
          </p:cNvSpPr>
          <p:nvPr>
            <p:ph idx="4294967295"/>
          </p:nvPr>
        </p:nvSpPr>
        <p:spPr bwMode="auto">
          <a:xfrm>
            <a:off x="1699260" y="246650"/>
            <a:ext cx="8793480" cy="926240"/>
          </a:xfrm>
          <a:noFill/>
          <a:ln w="12700">
            <a:solidFill>
              <a:srgbClr val="3B6E8F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1" tIns="45711" rIns="91421" bIns="45711" numCol="1" rtlCol="0" anchor="ctr" anchorCtr="0" compatLnSpc="1">
            <a:prstTxWarp prst="textNoShape">
              <a:avLst/>
            </a:prstTxWarp>
            <a:normAutofit fontScale="92500"/>
          </a:bodyPr>
          <a:lstStyle/>
          <a:p>
            <a:pPr marL="0" indent="0" algn="ctr">
              <a:spcBef>
                <a:spcPct val="0"/>
              </a:spcBef>
              <a:buNone/>
            </a:pPr>
            <a:r>
              <a:rPr lang="en-US" dirty="0">
                <a:solidFill>
                  <a:schemeClr val="tx1"/>
                </a:solidFill>
                <a:latin typeface="Arial" charset="0"/>
              </a:rPr>
              <a:t>ERTRAC is the European Technology Platform (ETP) for Road Transport </a:t>
            </a:r>
            <a:r>
              <a:rPr lang="en-US" dirty="0" err="1">
                <a:solidFill>
                  <a:schemeClr val="tx1"/>
                </a:solidFill>
                <a:latin typeface="Arial" charset="0"/>
              </a:rPr>
              <a:t>recognised</a:t>
            </a:r>
            <a:r>
              <a:rPr lang="en-US" dirty="0">
                <a:solidFill>
                  <a:schemeClr val="tx1"/>
                </a:solidFill>
                <a:latin typeface="Arial" charset="0"/>
              </a:rPr>
              <a:t> and supported by the European Commission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3FB7CAD-8FB6-FA46-BEB0-C1D33CABC79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1267371"/>
            <a:ext cx="4889231" cy="4880859"/>
          </a:xfrm>
          <a:prstGeom prst="rect">
            <a:avLst/>
          </a:prstGeom>
        </p:spPr>
      </p:pic>
      <p:sp>
        <p:nvSpPr>
          <p:cNvPr id="7" name="Espace réservé du contenu 4">
            <a:extLst>
              <a:ext uri="{FF2B5EF4-FFF2-40B4-BE49-F238E27FC236}">
                <a16:creationId xmlns:a16="http://schemas.microsoft.com/office/drawing/2014/main" id="{721BFF4D-F96B-3A44-8343-9A254269B075}"/>
              </a:ext>
            </a:extLst>
          </p:cNvPr>
          <p:cNvSpPr txBox="1">
            <a:spLocks/>
          </p:cNvSpPr>
          <p:nvPr/>
        </p:nvSpPr>
        <p:spPr bwMode="auto">
          <a:xfrm>
            <a:off x="374332" y="1668318"/>
            <a:ext cx="5187224" cy="407896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1" tIns="45711" rIns="91421" bIns="45711" numCol="1" rtlCol="0" anchor="t" anchorCtr="0" compatLnSpc="1">
            <a:prstTxWarp prst="textNoShape">
              <a:avLst/>
            </a:prstTxWarp>
            <a:normAutofit/>
          </a:bodyPr>
          <a:lstStyle>
            <a:lvl1pPr marL="342830" indent="-342830" algn="l" defTabSz="457106" rtl="0" eaLnBrk="1" latinLnBrk="0" hangingPunct="1">
              <a:spcBef>
                <a:spcPct val="20000"/>
              </a:spcBef>
              <a:buClr>
                <a:srgbClr val="0D51A0"/>
              </a:buClr>
              <a:buFont typeface="Arial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1pPr>
            <a:lvl2pPr marL="742798" indent="-285692" algn="l" defTabSz="457106" rtl="0" eaLnBrk="1" latinLnBrk="0" hangingPunct="1">
              <a:spcBef>
                <a:spcPct val="20000"/>
              </a:spcBef>
              <a:buClr>
                <a:srgbClr val="0D51A0"/>
              </a:buClr>
              <a:buFont typeface="Arial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2pPr>
            <a:lvl3pPr marL="1142765" indent="-228552" algn="l" defTabSz="457106" rtl="0" eaLnBrk="1" latinLnBrk="0" hangingPunct="1">
              <a:spcBef>
                <a:spcPct val="20000"/>
              </a:spcBef>
              <a:buClr>
                <a:srgbClr val="0D51A0"/>
              </a:buClr>
              <a:buFont typeface="Arial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599872" indent="-228552" algn="l" defTabSz="457106" rtl="0" eaLnBrk="1" latinLnBrk="0" hangingPunct="1">
              <a:spcBef>
                <a:spcPct val="20000"/>
              </a:spcBef>
              <a:buClr>
                <a:srgbClr val="0D51A0"/>
              </a:buClr>
              <a:buFont typeface="Arial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4pPr>
            <a:lvl5pPr marL="2056980" indent="-228552" algn="l" defTabSz="457106" rtl="0" eaLnBrk="1" latinLnBrk="0" hangingPunct="1">
              <a:spcBef>
                <a:spcPct val="20000"/>
              </a:spcBef>
              <a:buClr>
                <a:srgbClr val="0D51A0"/>
              </a:buClr>
              <a:buFont typeface="Arial"/>
              <a:buChar char="»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514087" indent="-228552" algn="l" defTabSz="4571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92" indent="-228552" algn="l" defTabSz="4571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99" indent="-228552" algn="l" defTabSz="4571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04" indent="-228552" algn="l" defTabSz="4571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en-US" dirty="0">
              <a:solidFill>
                <a:schemeClr val="tx1"/>
              </a:solidFill>
              <a:latin typeface="Arial" charset="0"/>
            </a:endParaRPr>
          </a:p>
          <a:p>
            <a:pPr marL="0" indent="0" algn="ctr">
              <a:spcBef>
                <a:spcPct val="0"/>
              </a:spcBef>
              <a:buNone/>
            </a:pPr>
            <a:endParaRPr lang="en-US" dirty="0">
              <a:solidFill>
                <a:schemeClr val="tx1"/>
              </a:solidFill>
              <a:latin typeface="Arial" charset="0"/>
            </a:endParaRPr>
          </a:p>
          <a:p>
            <a:pPr marL="0" indent="0" algn="ctr">
              <a:spcBef>
                <a:spcPct val="0"/>
              </a:spcBef>
              <a:buNone/>
            </a:pPr>
            <a:r>
              <a:rPr lang="en-US" dirty="0">
                <a:solidFill>
                  <a:schemeClr val="tx1"/>
                </a:solidFill>
                <a:latin typeface="Arial" charset="0"/>
              </a:rPr>
              <a:t>Members gather all the stakeholders of Road Transport Research: involving industry and researchers, private and public organisations, including authorities from national and local levels.</a:t>
            </a:r>
          </a:p>
        </p:txBody>
      </p:sp>
    </p:spTree>
    <p:extLst>
      <p:ext uri="{BB962C8B-B14F-4D97-AF65-F5344CB8AC3E}">
        <p14:creationId xmlns:p14="http://schemas.microsoft.com/office/powerpoint/2010/main" val="275452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Titre 4"/>
          <p:cNvSpPr>
            <a:spLocks noGrp="1"/>
          </p:cNvSpPr>
          <p:nvPr>
            <p:ph type="title"/>
          </p:nvPr>
        </p:nvSpPr>
        <p:spPr bwMode="auto">
          <a:xfrm>
            <a:off x="1981201" y="274638"/>
            <a:ext cx="8229600" cy="11430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GB" sz="3200" dirty="0">
                <a:latin typeface="Arial" charset="0"/>
              </a:rPr>
              <a:t>ERTRAC organisation overview</a:t>
            </a:r>
          </a:p>
        </p:txBody>
      </p:sp>
      <p:sp>
        <p:nvSpPr>
          <p:cNvPr id="6146" name="Rectangle 6"/>
          <p:cNvSpPr>
            <a:spLocks noChangeArrowheads="1"/>
          </p:cNvSpPr>
          <p:nvPr/>
        </p:nvSpPr>
        <p:spPr bwMode="auto">
          <a:xfrm>
            <a:off x="1981201" y="1303820"/>
            <a:ext cx="8229600" cy="2159998"/>
          </a:xfrm>
          <a:prstGeom prst="rect">
            <a:avLst/>
          </a:prstGeom>
          <a:solidFill>
            <a:srgbClr val="0D51A0"/>
          </a:solidFill>
          <a:ln w="158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8000" tIns="93600" rIns="108000" bIns="93600">
            <a:prstTxWarp prst="textNoShape">
              <a:avLst/>
            </a:prstTxWarp>
          </a:bodyPr>
          <a:lstStyle/>
          <a:p>
            <a:pPr algn="ctr"/>
            <a:r>
              <a:rPr lang="en-GB" sz="3200" b="1" dirty="0">
                <a:solidFill>
                  <a:srgbClr val="89BD23"/>
                </a:solidFill>
                <a:latin typeface="Arial-BoldMT"/>
                <a:ea typeface="ＭＳ Ｐゴシック" pitchFamily="-112" charset="-128"/>
                <a:cs typeface="Arial-BoldMT"/>
              </a:rPr>
              <a:t>Plenary</a:t>
            </a:r>
          </a:p>
          <a:p>
            <a:endParaRPr lang="en-US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r>
              <a:rPr lang="en-US" sz="2000" b="1" dirty="0">
                <a:solidFill>
                  <a:schemeClr val="bg1"/>
                </a:solidFill>
                <a:latin typeface="Arial-BoldMT"/>
                <a:ea typeface="ＭＳ Ｐゴシック" pitchFamily="-112" charset="-128"/>
                <a:cs typeface="Arial-BoldMT"/>
              </a:rPr>
              <a:t>Gathering all the ERTRAC members;</a:t>
            </a:r>
          </a:p>
          <a:p>
            <a:r>
              <a:rPr lang="en-US" sz="2000" b="1" dirty="0">
                <a:solidFill>
                  <a:schemeClr val="bg1"/>
                </a:solidFill>
                <a:latin typeface="Arial-BoldMT"/>
                <a:ea typeface="ＭＳ Ｐゴシック" pitchFamily="-112" charset="-128"/>
                <a:cs typeface="Arial-BoldMT"/>
              </a:rPr>
              <a:t>Establishing the strategic orientations of the technology platform;</a:t>
            </a:r>
          </a:p>
          <a:p>
            <a:r>
              <a:rPr lang="en-US" sz="2000" b="1" dirty="0">
                <a:solidFill>
                  <a:schemeClr val="bg1"/>
                </a:solidFill>
                <a:latin typeface="Arial-BoldMT"/>
                <a:ea typeface="ＭＳ Ｐゴシック" pitchFamily="-112" charset="-128"/>
                <a:cs typeface="Arial-BoldMT"/>
              </a:rPr>
              <a:t>Endorsing the publications.</a:t>
            </a:r>
            <a:endParaRPr lang="en-GB" sz="2000" b="1" dirty="0">
              <a:solidFill>
                <a:schemeClr val="bg1"/>
              </a:solidFill>
              <a:latin typeface="Arial-BoldMT"/>
              <a:ea typeface="ＭＳ Ｐゴシック" pitchFamily="-112" charset="-128"/>
              <a:cs typeface="Arial-BoldMT"/>
            </a:endParaRPr>
          </a:p>
        </p:txBody>
      </p:sp>
      <p:sp>
        <p:nvSpPr>
          <p:cNvPr id="6148" name="Rectangle 10"/>
          <p:cNvSpPr>
            <a:spLocks noChangeArrowheads="1"/>
          </p:cNvSpPr>
          <p:nvPr/>
        </p:nvSpPr>
        <p:spPr bwMode="auto">
          <a:xfrm>
            <a:off x="1981201" y="4066671"/>
            <a:ext cx="8229600" cy="2160000"/>
          </a:xfrm>
          <a:prstGeom prst="rect">
            <a:avLst/>
          </a:prstGeom>
          <a:solidFill>
            <a:srgbClr val="89BD23"/>
          </a:solidFill>
          <a:ln w="2857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8000" tIns="93600" rIns="108000" bIns="93600">
            <a:prstTxWarp prst="textNoShape">
              <a:avLst/>
            </a:prstTxWarp>
          </a:bodyPr>
          <a:lstStyle/>
          <a:p>
            <a:pPr algn="ctr"/>
            <a:r>
              <a:rPr lang="en-GB" sz="3200" b="1" dirty="0">
                <a:solidFill>
                  <a:srgbClr val="0070C0"/>
                </a:solidFill>
                <a:latin typeface="Arial-BoldMT"/>
                <a:ea typeface="ＭＳ Ｐゴシック" pitchFamily="-112" charset="-128"/>
                <a:cs typeface="Arial-BoldMT"/>
              </a:rPr>
              <a:t>Working Groups</a:t>
            </a:r>
          </a:p>
          <a:p>
            <a:endParaRPr lang="en-GB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r>
              <a:rPr lang="en-US" sz="2000" b="1" dirty="0">
                <a:solidFill>
                  <a:schemeClr val="bg1"/>
                </a:solidFill>
                <a:latin typeface="Arial-BoldMT"/>
                <a:ea typeface="ＭＳ Ｐゴシック" pitchFamily="-112" charset="-128"/>
                <a:cs typeface="Arial-BoldMT"/>
              </a:rPr>
              <a:t>Gathering experts from the ERTRAC members;</a:t>
            </a:r>
          </a:p>
          <a:p>
            <a:r>
              <a:rPr lang="en-US" sz="2000" b="1" dirty="0">
                <a:solidFill>
                  <a:schemeClr val="bg1"/>
                </a:solidFill>
                <a:latin typeface="Arial-BoldMT"/>
                <a:ea typeface="ＭＳ Ｐゴシック" pitchFamily="-112" charset="-128"/>
                <a:cs typeface="Arial-BoldMT"/>
              </a:rPr>
              <a:t>Responsible for the preparation of the ERTRAC documents;</a:t>
            </a:r>
          </a:p>
          <a:p>
            <a:r>
              <a:rPr lang="en-US" sz="2000" b="1" dirty="0">
                <a:solidFill>
                  <a:schemeClr val="bg1"/>
                </a:solidFill>
                <a:latin typeface="Arial-BoldMT"/>
                <a:ea typeface="ＭＳ Ｐゴシック" pitchFamily="-112" charset="-128"/>
                <a:cs typeface="Arial-BoldMT"/>
              </a:rPr>
              <a:t>Co-managed by industry and research Leaders.</a:t>
            </a:r>
          </a:p>
          <a:p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</p:txBody>
      </p:sp>
      <p:sp>
        <p:nvSpPr>
          <p:cNvPr id="11" name="Up Arrow 21"/>
          <p:cNvSpPr/>
          <p:nvPr/>
        </p:nvSpPr>
        <p:spPr>
          <a:xfrm rot="10800000" flipH="1" flipV="1">
            <a:off x="9491438" y="3166924"/>
            <a:ext cx="485775" cy="977900"/>
          </a:xfrm>
          <a:prstGeom prst="upArrow">
            <a:avLst>
              <a:gd name="adj1" fmla="val 72898"/>
              <a:gd name="adj2" fmla="val 35576"/>
            </a:avLst>
          </a:prstGeom>
          <a:solidFill>
            <a:srgbClr val="89BD23"/>
          </a:solidFill>
          <a:ln w="158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n-GB">
              <a:solidFill>
                <a:srgbClr val="FFFFFF"/>
              </a:solidFill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17" name="Up Arrow 28"/>
          <p:cNvSpPr/>
          <p:nvPr/>
        </p:nvSpPr>
        <p:spPr>
          <a:xfrm rot="10800000">
            <a:off x="9005663" y="3375894"/>
            <a:ext cx="485775" cy="977900"/>
          </a:xfrm>
          <a:prstGeom prst="upArrow">
            <a:avLst>
              <a:gd name="adj1" fmla="val 72898"/>
              <a:gd name="adj2" fmla="val 35576"/>
            </a:avLst>
          </a:prstGeom>
          <a:solidFill>
            <a:srgbClr val="0D51A0"/>
          </a:solidFill>
          <a:ln w="158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n-GB">
              <a:solidFill>
                <a:srgbClr val="FFFFFF"/>
              </a:solidFill>
              <a:ea typeface="ＭＳ Ｐゴシック" pitchFamily="-112" charset="-128"/>
              <a:cs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912256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Titre 4"/>
          <p:cNvSpPr>
            <a:spLocks noGrp="1"/>
          </p:cNvSpPr>
          <p:nvPr>
            <p:ph type="title"/>
          </p:nvPr>
        </p:nvSpPr>
        <p:spPr bwMode="auto">
          <a:xfrm>
            <a:off x="1981201" y="274638"/>
            <a:ext cx="8229600" cy="11430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5" tIns="45713" rIns="91425" bIns="45713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GB" sz="3200" dirty="0">
                <a:latin typeface="Arial" charset="0"/>
              </a:rPr>
              <a:t>ERTRAC Working Groups</a:t>
            </a:r>
          </a:p>
        </p:txBody>
      </p:sp>
      <p:sp>
        <p:nvSpPr>
          <p:cNvPr id="6148" name="Rectangle 10"/>
          <p:cNvSpPr>
            <a:spLocks noChangeArrowheads="1"/>
          </p:cNvSpPr>
          <p:nvPr/>
        </p:nvSpPr>
        <p:spPr bwMode="auto">
          <a:xfrm>
            <a:off x="1727203" y="1031045"/>
            <a:ext cx="8762999" cy="4750481"/>
          </a:xfrm>
          <a:prstGeom prst="rect">
            <a:avLst/>
          </a:prstGeom>
          <a:solidFill>
            <a:srgbClr val="89BD23"/>
          </a:solidFill>
          <a:ln w="2857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7984" tIns="93585" rIns="107984" bIns="93585">
            <a:prstTxWarp prst="textNoShape">
              <a:avLst/>
            </a:prstTxWarp>
          </a:bodyPr>
          <a:lstStyle/>
          <a:p>
            <a:pPr defTabSz="457130"/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pPr defTabSz="457130"/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pPr defTabSz="457130"/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pPr defTabSz="457130"/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pPr defTabSz="457130"/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pPr defTabSz="457130"/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pPr defTabSz="457130"/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pPr defTabSz="457130"/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pPr defTabSz="457130"/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pPr defTabSz="457130"/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pPr defTabSz="457130"/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  <a:p>
            <a:pPr defTabSz="457130"/>
            <a:endParaRPr lang="en-US" sz="2000" dirty="0">
              <a:solidFill>
                <a:srgbClr val="FFFFFF"/>
              </a:solidFill>
              <a:latin typeface="Arial-BoldMT"/>
              <a:ea typeface="ＭＳ Ｐゴシック" pitchFamily="-112" charset="-128"/>
              <a:cs typeface="Arial-BoldMT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981201" y="1349613"/>
            <a:ext cx="2541180" cy="1844384"/>
          </a:xfrm>
          <a:prstGeom prst="rect">
            <a:avLst/>
          </a:prstGeom>
          <a:solidFill>
            <a:srgbClr val="89BD23"/>
          </a:solidFill>
          <a:ln w="2857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1989" tIns="46793" rIns="71989" bIns="46793" anchor="ctr">
            <a:prstTxWarp prst="textNoShape">
              <a:avLst/>
            </a:prstTxWarp>
          </a:bodyPr>
          <a:lstStyle/>
          <a:p>
            <a:pPr defTabSz="457130"/>
            <a:r>
              <a:rPr lang="en-GB" sz="2400" b="1" dirty="0">
                <a:solidFill>
                  <a:srgbClr val="0D51A0"/>
                </a:solidFill>
                <a:latin typeface="Arial-BoldMT"/>
                <a:ea typeface="ＭＳ Ｐゴシック" pitchFamily="-112" charset="-128"/>
                <a:cs typeface="Arial-BoldMT"/>
              </a:rPr>
              <a:t>Urban Mobility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4823113" y="1349613"/>
            <a:ext cx="2543481" cy="1840110"/>
          </a:xfrm>
          <a:prstGeom prst="rect">
            <a:avLst/>
          </a:prstGeom>
          <a:solidFill>
            <a:srgbClr val="89BD23"/>
          </a:solidFill>
          <a:ln w="2857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1989" tIns="46793" rIns="71989" bIns="46793" anchor="ctr">
            <a:prstTxWarp prst="textNoShape">
              <a:avLst/>
            </a:prstTxWarp>
          </a:bodyPr>
          <a:lstStyle/>
          <a:p>
            <a:pPr defTabSz="457130"/>
            <a:r>
              <a:rPr lang="en-GB" sz="2400" b="1" dirty="0">
                <a:solidFill>
                  <a:srgbClr val="0D51A0"/>
                </a:solidFill>
                <a:latin typeface="Arial-BoldMT"/>
                <a:ea typeface="ＭＳ Ｐゴシック" pitchFamily="-112" charset="-128"/>
                <a:cs typeface="Arial-BoldMT"/>
              </a:rPr>
              <a:t>Energy &amp; Environment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7667323" y="1345339"/>
            <a:ext cx="2543481" cy="1844384"/>
          </a:xfrm>
          <a:prstGeom prst="rect">
            <a:avLst/>
          </a:prstGeom>
          <a:solidFill>
            <a:srgbClr val="89BD23"/>
          </a:solidFill>
          <a:ln w="2857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1989" tIns="46793" rIns="71989" bIns="46793" anchor="ctr">
            <a:prstTxWarp prst="textNoShape">
              <a:avLst/>
            </a:prstTxWarp>
          </a:bodyPr>
          <a:lstStyle/>
          <a:p>
            <a:pPr defTabSz="457130"/>
            <a:r>
              <a:rPr lang="en-GB" sz="2400" b="1" dirty="0">
                <a:solidFill>
                  <a:srgbClr val="0D51A0"/>
                </a:solidFill>
                <a:latin typeface="Arial-BoldMT"/>
                <a:ea typeface="ＭＳ Ｐゴシック" pitchFamily="-112" charset="-128"/>
                <a:cs typeface="Arial-BoldMT"/>
              </a:rPr>
              <a:t>Safety &amp; Security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1966030" y="3601413"/>
            <a:ext cx="2541180" cy="1844384"/>
          </a:xfrm>
          <a:prstGeom prst="rect">
            <a:avLst/>
          </a:prstGeom>
          <a:solidFill>
            <a:srgbClr val="89BD23"/>
          </a:solidFill>
          <a:ln w="2857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1989" tIns="46793" rIns="71989" bIns="46793" anchor="ctr">
            <a:prstTxWarp prst="textNoShape">
              <a:avLst/>
            </a:prstTxWarp>
          </a:bodyPr>
          <a:lstStyle/>
          <a:p>
            <a:pPr defTabSz="457130"/>
            <a:r>
              <a:rPr lang="en-GB" sz="2400" b="1" dirty="0">
                <a:solidFill>
                  <a:srgbClr val="0D51A0"/>
                </a:solidFill>
                <a:latin typeface="Arial-BoldMT"/>
                <a:ea typeface="ＭＳ Ｐゴシック" pitchFamily="-112" charset="-128"/>
                <a:cs typeface="Arial-BoldMT"/>
              </a:rPr>
              <a:t>Long Distance Freight Transport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4841105" y="3601413"/>
            <a:ext cx="2535193" cy="1844384"/>
          </a:xfrm>
          <a:prstGeom prst="rect">
            <a:avLst/>
          </a:prstGeom>
          <a:solidFill>
            <a:srgbClr val="89BD23"/>
          </a:solidFill>
          <a:ln w="2857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1989" tIns="46793" rIns="71989" bIns="46793" anchor="ctr">
            <a:prstTxWarp prst="textNoShape">
              <a:avLst/>
            </a:prstTxWarp>
          </a:bodyPr>
          <a:lstStyle/>
          <a:p>
            <a:pPr defTabSz="457130"/>
            <a:r>
              <a:rPr lang="en-GB" sz="2400" b="1" dirty="0">
                <a:solidFill>
                  <a:srgbClr val="0D51A0"/>
                </a:solidFill>
                <a:latin typeface="Arial-BoldMT"/>
                <a:ea typeface="ＭＳ Ｐゴシック" pitchFamily="-112" charset="-128"/>
                <a:cs typeface="Arial-BoldMT"/>
              </a:rPr>
              <a:t>Circularity &amp;</a:t>
            </a:r>
          </a:p>
          <a:p>
            <a:pPr defTabSz="457130"/>
            <a:r>
              <a:rPr lang="en-GB" sz="2400" b="1" dirty="0">
                <a:solidFill>
                  <a:srgbClr val="0D51A0"/>
                </a:solidFill>
                <a:latin typeface="Arial-BoldMT"/>
                <a:ea typeface="ＭＳ Ｐゴシック" pitchFamily="-112" charset="-128"/>
                <a:cs typeface="Arial-BoldMT"/>
              </a:rPr>
              <a:t>Competi-tivenes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7667323" y="3601413"/>
            <a:ext cx="2543481" cy="1844384"/>
          </a:xfrm>
          <a:prstGeom prst="rect">
            <a:avLst/>
          </a:prstGeom>
          <a:solidFill>
            <a:srgbClr val="89BD23"/>
          </a:solidFill>
          <a:ln w="2857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1989" tIns="46793" rIns="71989" bIns="46793" anchor="ctr">
            <a:prstTxWarp prst="textNoShape">
              <a:avLst/>
            </a:prstTxWarp>
          </a:bodyPr>
          <a:lstStyle/>
          <a:p>
            <a:pPr defTabSz="457130"/>
            <a:r>
              <a:rPr lang="en-GB" sz="2400" b="1" dirty="0">
                <a:solidFill>
                  <a:srgbClr val="0D51A0"/>
                </a:solidFill>
                <a:latin typeface="Arial-BoldMT"/>
                <a:ea typeface="ＭＳ Ｐゴシック" pitchFamily="-112" charset="-128"/>
                <a:cs typeface="Arial-BoldMT"/>
              </a:rPr>
              <a:t>Connectivity &amp; Automated Driving</a:t>
            </a:r>
          </a:p>
        </p:txBody>
      </p:sp>
    </p:spTree>
    <p:extLst>
      <p:ext uri="{BB962C8B-B14F-4D97-AF65-F5344CB8AC3E}">
        <p14:creationId xmlns:p14="http://schemas.microsoft.com/office/powerpoint/2010/main" val="37482860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F9B5C0-4341-7449-D69B-1CE89C1A57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772DD904-93BC-1FAC-DEAA-7147BDF0C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New ERTRAC Task Force on Digitalisation</a:t>
            </a:r>
            <a:endParaRPr lang="en-GB" sz="3200" dirty="0"/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35304234-80B8-EB26-173C-9A0AA9BE9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1"/>
            <a:ext cx="9977610" cy="452596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2000" b="1" dirty="0"/>
              <a:t>Should become a permanent ERTRAC Working Group</a:t>
            </a:r>
          </a:p>
          <a:p>
            <a:pPr marL="0" indent="0">
              <a:buNone/>
            </a:pPr>
            <a:r>
              <a:rPr lang="en-US" sz="2000" dirty="0"/>
              <a:t>Rationale &amp; need: a strategic initiative to address the critical role of digital technologies in future road transport</a:t>
            </a:r>
          </a:p>
          <a:p>
            <a:endParaRPr lang="en-GB" sz="2000" b="1" dirty="0"/>
          </a:p>
          <a:p>
            <a:pPr marL="0" indent="0">
              <a:buNone/>
            </a:pPr>
            <a:r>
              <a:rPr lang="en-GB" sz="2000" b="1" dirty="0"/>
              <a:t>Short-term task: should contribute to the drafting of the Automotive Partnership</a:t>
            </a:r>
          </a:p>
          <a:p>
            <a:pPr marL="0" indent="0">
              <a:buNone/>
            </a:pPr>
            <a:r>
              <a:rPr lang="en-GB" sz="2000" dirty="0"/>
              <a:t>two horizontals “SDV, E/E, Software Architecture, Building Blocks and Interfaces” &amp;</a:t>
            </a:r>
          </a:p>
          <a:p>
            <a:pPr marL="0" indent="0">
              <a:buNone/>
            </a:pPr>
            <a:r>
              <a:rPr lang="en-GB" sz="2000" dirty="0"/>
              <a:t>“AI Vehicles Functions and Services + Data + Cybersecurity”</a:t>
            </a:r>
          </a:p>
          <a:p>
            <a:endParaRPr lang="en-GB" sz="2000" b="1" dirty="0"/>
          </a:p>
          <a:p>
            <a:pPr marL="0" indent="0">
              <a:buNone/>
            </a:pPr>
            <a:r>
              <a:rPr lang="en-GB" sz="2000" b="1" dirty="0"/>
              <a:t>Invitation to ERTRAC Members to nominate experts</a:t>
            </a:r>
          </a:p>
          <a:p>
            <a:endParaRPr lang="en-GB" sz="2000" b="1" dirty="0"/>
          </a:p>
          <a:p>
            <a:pPr marL="0" indent="0">
              <a:buNone/>
            </a:pPr>
            <a:r>
              <a:rPr lang="en-GB" sz="2000" b="1" dirty="0"/>
              <a:t>2 Co-Leaders from industry and academia to be nominated by the </a:t>
            </a:r>
            <a:r>
              <a:rPr lang="en-GB" sz="2000" b="1"/>
              <a:t>members </a:t>
            </a:r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37914776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CF1F27-9E19-1187-9660-0E64027627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noProof="0"/>
              <a:t>WG Digitalisation in Road Transport</a:t>
            </a:r>
            <a:br>
              <a:rPr lang="en-GB" noProof="0"/>
            </a:br>
            <a:r>
              <a:rPr lang="en-GB" noProof="0"/>
              <a:t>Cross-domain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EA36EC3-FD59-BA57-A7D7-B56D2241B49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31845" y="1518561"/>
          <a:ext cx="10750671" cy="4798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1CAAF9-A3BF-CCED-D8D9-25EC9E8C30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7C75F3A-94EE-9842-B011-75DEC30A4C24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6</a:t>
            </a:fld>
            <a:endParaRPr lang="en-GB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C2CEBA6-E303-2823-47F1-C43C19FA8908}"/>
              </a:ext>
            </a:extLst>
          </p:cNvPr>
          <p:cNvSpPr txBox="1">
            <a:spLocks/>
          </p:cNvSpPr>
          <p:nvPr/>
        </p:nvSpPr>
        <p:spPr>
          <a:xfrm>
            <a:off x="609600" y="1327356"/>
            <a:ext cx="9220200" cy="47988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D51A0"/>
              </a:buClr>
              <a:buFont typeface="Arial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D51A0"/>
              </a:buClr>
              <a:buFont typeface="Arial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D51A0"/>
              </a:buClr>
              <a:buFont typeface="Arial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D51A0"/>
              </a:buClr>
              <a:buFont typeface="Arial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D51A0"/>
              </a:buClr>
              <a:buFont typeface="Arial"/>
              <a:buChar char="»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endParaRPr lang="en-US" sz="2000" dirty="0">
              <a:solidFill>
                <a:srgbClr val="002060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4423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981202" y="860615"/>
            <a:ext cx="6790266" cy="5265555"/>
          </a:xfrm>
        </p:spPr>
        <p:txBody>
          <a:bodyPr>
            <a:normAutofit/>
          </a:bodyPr>
          <a:lstStyle/>
          <a:p>
            <a:pPr marL="0" indent="0" algn="ctr">
              <a:lnSpc>
                <a:spcPct val="95000"/>
              </a:lnSpc>
              <a:buSzPct val="75000"/>
              <a:buNone/>
            </a:pPr>
            <a:r>
              <a:rPr lang="en-GB" noProof="0" dirty="0">
                <a:latin typeface="Calibri" charset="0"/>
              </a:rPr>
              <a:t>Contact:</a:t>
            </a:r>
          </a:p>
          <a:p>
            <a:pPr marL="0" indent="0" algn="ctr">
              <a:lnSpc>
                <a:spcPct val="95000"/>
              </a:lnSpc>
              <a:buSzPct val="75000"/>
              <a:buNone/>
            </a:pPr>
            <a:r>
              <a:rPr lang="en-GB" noProof="0" dirty="0">
                <a:latin typeface="Calibri" charset="0"/>
              </a:rPr>
              <a:t>Xavier Aertsens</a:t>
            </a:r>
          </a:p>
          <a:p>
            <a:pPr marL="0" indent="0" algn="ctr">
              <a:lnSpc>
                <a:spcPct val="95000"/>
              </a:lnSpc>
              <a:buSzPct val="75000"/>
              <a:buNone/>
            </a:pPr>
            <a:r>
              <a:rPr lang="en-GB" noProof="0" dirty="0">
                <a:latin typeface="Calibri" charset="0"/>
              </a:rPr>
              <a:t>ERTRAC Office Director</a:t>
            </a:r>
          </a:p>
          <a:p>
            <a:pPr marL="0" indent="0" algn="ctr">
              <a:lnSpc>
                <a:spcPct val="95000"/>
              </a:lnSpc>
              <a:buSzPct val="75000"/>
              <a:buNone/>
            </a:pPr>
            <a:r>
              <a:rPr lang="en-GB" noProof="0" dirty="0">
                <a:latin typeface="Calibri" charset="0"/>
              </a:rPr>
              <a:t>Avenue de </a:t>
            </a:r>
            <a:r>
              <a:rPr lang="en-GB" noProof="0" dirty="0" err="1">
                <a:latin typeface="Calibri" charset="0"/>
              </a:rPr>
              <a:t>Cortenbergh</a:t>
            </a:r>
            <a:r>
              <a:rPr lang="en-GB" noProof="0" dirty="0">
                <a:latin typeface="Calibri" charset="0"/>
              </a:rPr>
              <a:t> 66</a:t>
            </a:r>
          </a:p>
          <a:p>
            <a:pPr marL="0" indent="0" algn="ctr">
              <a:lnSpc>
                <a:spcPct val="95000"/>
              </a:lnSpc>
              <a:buSzPct val="75000"/>
              <a:buNone/>
            </a:pPr>
            <a:r>
              <a:rPr lang="en-GB" noProof="0" dirty="0">
                <a:latin typeface="Calibri" charset="0"/>
              </a:rPr>
              <a:t>1000 Brussels</a:t>
            </a:r>
          </a:p>
          <a:p>
            <a:pPr marL="0" indent="0" algn="ctr">
              <a:lnSpc>
                <a:spcPct val="95000"/>
              </a:lnSpc>
              <a:buSzPct val="75000"/>
              <a:buNone/>
            </a:pPr>
            <a:r>
              <a:rPr lang="en-GB" noProof="0" dirty="0">
                <a:latin typeface="Calibri" charset="0"/>
                <a:hlinkClick r:id="rId2"/>
              </a:rPr>
              <a:t>xavier.aertsens@ertrac.org</a:t>
            </a:r>
            <a:r>
              <a:rPr lang="en-GB" noProof="0" dirty="0">
                <a:latin typeface="Calibri" charset="0"/>
              </a:rPr>
              <a:t> </a:t>
            </a:r>
          </a:p>
          <a:p>
            <a:pPr marL="0" indent="0" algn="ctr">
              <a:lnSpc>
                <a:spcPct val="95000"/>
              </a:lnSpc>
              <a:buSzPct val="75000"/>
              <a:buNone/>
            </a:pPr>
            <a:r>
              <a:rPr lang="en-GB" noProof="0" dirty="0">
                <a:latin typeface="Calibri" charset="0"/>
                <a:hlinkClick r:id="rId3"/>
              </a:rPr>
              <a:t>http://www.ertrac.org</a:t>
            </a:r>
            <a:r>
              <a:rPr lang="en-GB" noProof="0" dirty="0">
                <a:latin typeface="Calibri" charset="0"/>
              </a:rPr>
              <a:t> </a:t>
            </a:r>
          </a:p>
          <a:p>
            <a:endParaRPr lang="en-GB" noProof="0" dirty="0"/>
          </a:p>
          <a:p>
            <a:pPr marL="0" indent="0" algn="ctr">
              <a:lnSpc>
                <a:spcPct val="95000"/>
              </a:lnSpc>
              <a:buSzPct val="75000"/>
              <a:buNone/>
            </a:pPr>
            <a:r>
              <a:rPr lang="en-GB" sz="2200" dirty="0">
                <a:latin typeface="Calibri" charset="0"/>
              </a:rPr>
              <a:t>ERTRAC is registered in the EU Transparency Register under the ID number: 855647016671-07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7C75F3A-94EE-9842-B011-75DEC30A4C24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B8F6599-C309-A847-9111-FE24503DEC18}" type="datetime1">
              <a:rPr lang="en-GB" smtClean="0"/>
              <a:pPr/>
              <a:t>26/08/20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572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b8az8QRjOFzzk2gWuz6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Ricardo Template UK-WS_Large Title">
  <a:themeElements>
    <a:clrScheme name="Ricardo PowerPoint Colour Theme">
      <a:dk1>
        <a:srgbClr val="000000"/>
      </a:dk1>
      <a:lt1>
        <a:srgbClr val="FFFFFF"/>
      </a:lt1>
      <a:dk2>
        <a:srgbClr val="DC241F"/>
      </a:dk2>
      <a:lt2>
        <a:srgbClr val="000000"/>
      </a:lt2>
      <a:accent1>
        <a:srgbClr val="006BB7"/>
      </a:accent1>
      <a:accent2>
        <a:srgbClr val="A7A9AC"/>
      </a:accent2>
      <a:accent3>
        <a:srgbClr val="99CCFF"/>
      </a:accent3>
      <a:accent4>
        <a:srgbClr val="DDDDDD"/>
      </a:accent4>
      <a:accent5>
        <a:srgbClr val="00307E"/>
      </a:accent5>
      <a:accent6>
        <a:srgbClr val="808080"/>
      </a:accent6>
      <a:hlink>
        <a:srgbClr val="006BB7"/>
      </a:hlink>
      <a:folHlink>
        <a:srgbClr val="A7A9AC"/>
      </a:folHlink>
    </a:clrScheme>
    <a:fontScheme name="Ricardo Template UK-A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rtlCol="0" anchor="ctr" anchorCtr="0" compatLnSpc="1">
        <a:prstTxWarp prst="textNoShape">
          <a:avLst/>
        </a:prstTxWarp>
      </a:bodyPr>
      <a:lstStyle>
        <a:defPPr marL="0" marR="0" indent="0" algn="ctr" defTabSz="7620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ctr" defTabSz="7620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36000" tIns="36000" rIns="36000" bIns="36000" rtlCol="0">
        <a:spAutoFit/>
      </a:bodyPr>
      <a:lstStyle>
        <a:defPPr>
          <a:defRPr dirty="0" err="1" smtClean="0"/>
        </a:defPPr>
      </a:lstStyle>
    </a:txDef>
  </a:objectDefaults>
  <a:extraClrSchemeLst>
    <a:extraClrScheme>
      <a:clrScheme name="Ricardo PowerPoint Colour Theme">
        <a:dk1>
          <a:srgbClr val="000000"/>
        </a:dk1>
        <a:lt1>
          <a:srgbClr val="FFFFFF"/>
        </a:lt1>
        <a:dk2>
          <a:srgbClr val="DC241F"/>
        </a:dk2>
        <a:lt2>
          <a:srgbClr val="000000"/>
        </a:lt2>
        <a:accent1>
          <a:srgbClr val="006BB7"/>
        </a:accent1>
        <a:accent2>
          <a:srgbClr val="A7A9AC"/>
        </a:accent2>
        <a:accent3>
          <a:srgbClr val="99CCFF"/>
        </a:accent3>
        <a:accent4>
          <a:srgbClr val="DDDDDD"/>
        </a:accent4>
        <a:accent5>
          <a:srgbClr val="00307E"/>
        </a:accent5>
        <a:accent6>
          <a:srgbClr val="808080"/>
        </a:accent6>
        <a:hlink>
          <a:srgbClr val="006BB7"/>
        </a:hlink>
        <a:folHlink>
          <a:srgbClr val="A7A9AC"/>
        </a:folHlink>
      </a:clrScheme>
    </a:extraClrScheme>
  </a:extraClrSchemeLst>
  <a:custClrLst>
    <a:custClr name="Ricardo Logo Blue RGB(0, 107, 183)">
      <a:srgbClr val="006BB7"/>
    </a:custClr>
    <a:custClr name="Ricardo Logo Grey RGB(167, 169, 172)">
      <a:srgbClr val="A7A9AC"/>
    </a:custClr>
    <a:custClr name="Ricardo Light Blue RGB(153, 204, 255)">
      <a:srgbClr val="99CCFF"/>
    </a:custClr>
    <a:custClr name="Ricardo Light Grey RGB(221, 221, 221)">
      <a:srgbClr val="DDDDDD"/>
    </a:custClr>
    <a:custClr name="Ricardo Dark Blue RGB(0, 48, 126)">
      <a:srgbClr val="00307E"/>
    </a:custClr>
    <a:custClr name="Ricardo Dark Grey (50%) RGB(128, 128, 128)">
      <a:srgbClr val="808080"/>
    </a:custClr>
    <a:custClr name="Ricardo Off Blue RGB(89, 166, 213)">
      <a:srgbClr val="59A6D5"/>
    </a:custClr>
    <a:custClr name="Ricardo Grey (75%) RGB(192, 192, 192)">
      <a:srgbClr val="C0C0C0"/>
    </a:custClr>
    <a:custClr name="Ricardo Other Blue RGB(55, 111, 167)">
      <a:srgbClr val="376FA7"/>
    </a:custClr>
    <a:custClr name="Ricardo Grey (60%) RGB(150, 150, 150)">
      <a:srgbClr val="969696"/>
    </a:custClr>
    <a:custClr name="Black RGB(0, 0, 0)">
      <a:srgbClr val="000000"/>
    </a:custClr>
    <a:custClr name="White RGB(255, 255, 255)">
      <a:srgbClr val="FFFFFF"/>
    </a:custClr>
    <a:custClr name="Ricardo Red RGB(220, 36, 31)">
      <a:srgbClr val="DC241F"/>
    </a:custClr>
    <a:custClr name="Ricardo Orange RGB(228, 126, 0)">
      <a:srgbClr val="E47E00"/>
    </a:custClr>
    <a:custClr name="Ricardo Yellow RGB(250, 230, 0)">
      <a:srgbClr val="FAE600"/>
    </a:custClr>
    <a:custClr name="Ricardo Green RGB(153, 202, 60)">
      <a:srgbClr val="99CA3C"/>
    </a:custClr>
    <a:custClr name="Ricardo-AEA Green RGB(70, 156, 35)">
      <a:srgbClr val="469C23"/>
    </a:custClr>
    <a:custClr name="Ricardo Purple RGB(146, 73, 158)">
      <a:srgbClr val="92499E"/>
    </a:custClr>
    <a:custClr name="Ricardo Background Very Dark Grey RGB(77, 77, 79)">
      <a:srgbClr val="4D4D4F"/>
    </a:custClr>
  </a:custClrLst>
  <a:extLst>
    <a:ext uri="{05A4C25C-085E-4340-85A3-A5531E510DB2}">
      <thm15:themeFamily xmlns:thm15="http://schemas.microsoft.com/office/thememl/2012/main" name="Ricardo Template UK-A4 2016-DRAFT_RK.potx" id="{A8A0C64F-64BA-4D75-BBC3-140A44FC75A0}" vid="{3D5B5E28-47B6-4602-AF37-BED33E3FEFB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b7a3a8e-7964-4418-ab96-7edc9afd578f">
      <Terms xmlns="http://schemas.microsoft.com/office/infopath/2007/PartnerControls"/>
    </lcf76f155ced4ddcb4097134ff3c332f>
    <TaxCatchAll xmlns="07e80eab-9d26-4ae7-bd74-003410c928f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E8CB689BBF064F911E71EFFC1CB2A3" ma:contentTypeVersion="19" ma:contentTypeDescription="Create a new document." ma:contentTypeScope="" ma:versionID="46ba2718df9769c73d20d12fdb3d50cd">
  <xsd:schema xmlns:xsd="http://www.w3.org/2001/XMLSchema" xmlns:xs="http://www.w3.org/2001/XMLSchema" xmlns:p="http://schemas.microsoft.com/office/2006/metadata/properties" xmlns:ns2="fb7a3a8e-7964-4418-ab96-7edc9afd578f" xmlns:ns3="07e80eab-9d26-4ae7-bd74-003410c928f3" targetNamespace="http://schemas.microsoft.com/office/2006/metadata/properties" ma:root="true" ma:fieldsID="7b966049462367a5efbb73ec7cdd1d4a" ns2:_="" ns3:_="">
    <xsd:import namespace="fb7a3a8e-7964-4418-ab96-7edc9afd578f"/>
    <xsd:import namespace="07e80eab-9d26-4ae7-bd74-003410c928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7a3a8e-7964-4418-ab96-7edc9afd57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19d368e-b366-40e4-94d8-41c725b2470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e80eab-9d26-4ae7-bd74-003410c928f3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1f056abf-4cd5-4adb-a686-958db5268c10}" ma:internalName="TaxCatchAll" ma:showField="CatchAllData" ma:web="07e80eab-9d26-4ae7-bd74-003410c928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846B6D-9519-4998-B72D-7FB4016FCC56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d8c5f42c-df89-4779-8dc6-d3ddcd874e59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  <ds:schemaRef ds:uri="fb7a3a8e-7964-4418-ab96-7edc9afd578f"/>
    <ds:schemaRef ds:uri="07e80eab-9d26-4ae7-bd74-003410c928f3"/>
  </ds:schemaRefs>
</ds:datastoreItem>
</file>

<file path=customXml/itemProps2.xml><?xml version="1.0" encoding="utf-8"?>
<ds:datastoreItem xmlns:ds="http://schemas.openxmlformats.org/officeDocument/2006/customXml" ds:itemID="{DFA6CB56-A704-483C-8D79-689697EDA44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C0B0369-54B6-4644-B757-CED3F1F742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7a3a8e-7964-4418-ab96-7edc9afd578f"/>
    <ds:schemaRef ds:uri="07e80eab-9d26-4ae7-bd74-003410c928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b1c9b508-7c6e-42bd-bedf-808292653d6c}" enabled="1" method="Standard" siteId="{2882be50-2012-4d88-ac86-544124e120c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Ricardo Template US-Letter</Template>
  <TotalTime>0</TotalTime>
  <Pages>1</Pages>
  <Words>344</Words>
  <Application>Microsoft Office PowerPoint</Application>
  <PresentationFormat>Widescreen</PresentationFormat>
  <Paragraphs>83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ＭＳ Ｐゴシック</vt:lpstr>
      <vt:lpstr>Aptos</vt:lpstr>
      <vt:lpstr>Arial</vt:lpstr>
      <vt:lpstr>Arial-BoldMT</vt:lpstr>
      <vt:lpstr>Calibri</vt:lpstr>
      <vt:lpstr>Calibri Light</vt:lpstr>
      <vt:lpstr>Myriad Pro Light</vt:lpstr>
      <vt:lpstr>Office Theme</vt:lpstr>
      <vt:lpstr>Custom Design</vt:lpstr>
      <vt:lpstr>Ricardo Template UK-WS_Large Title</vt:lpstr>
      <vt:lpstr>think-cell Folie</vt:lpstr>
      <vt:lpstr>  ERTRAC Overview of Working Groups</vt:lpstr>
      <vt:lpstr>PowerPoint Presentation</vt:lpstr>
      <vt:lpstr>ERTRAC organisation overview</vt:lpstr>
      <vt:lpstr>ERTRAC Working Groups</vt:lpstr>
      <vt:lpstr>New ERTRAC Task Force on Digitalisation</vt:lpstr>
      <vt:lpstr>WG Digitalisation in Road Transport Cross-domain</vt:lpstr>
      <vt:lpstr>PowerPoint Presentation</vt:lpstr>
    </vt:vector>
  </TitlesOfParts>
  <Company>Ricardo UK Lt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t 1b Wireless Charging</dc:title>
  <dc:creator>Chhabra, Dhruv</dc:creator>
  <cp:lastModifiedBy>MM</cp:lastModifiedBy>
  <cp:revision>3510</cp:revision>
  <cp:lastPrinted>2023-09-18T14:36:57Z</cp:lastPrinted>
  <dcterms:created xsi:type="dcterms:W3CDTF">2014-07-23T10:03:18Z</dcterms:created>
  <dcterms:modified xsi:type="dcterms:W3CDTF">2025-08-26T08:51:36Z</dcterms:modified>
  <cp:version>2014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number">
    <vt:i4>2</vt:i4>
  </property>
  <property fmtid="{D5CDD505-2E9C-101B-9397-08002B2CF9AE}" pid="3" name="Date completed">
    <vt:filetime>2012-02-20T00:00:00Z</vt:filetime>
  </property>
  <property fmtid="{D5CDD505-2E9C-101B-9397-08002B2CF9AE}" pid="4" name="MSIP_Label_fd1c0902-ed92-4fed-896d-2e7725de02d4_Enabled">
    <vt:lpwstr>true</vt:lpwstr>
  </property>
  <property fmtid="{D5CDD505-2E9C-101B-9397-08002B2CF9AE}" pid="5" name="MSIP_Label_fd1c0902-ed92-4fed-896d-2e7725de02d4_SetDate">
    <vt:lpwstr>2020-07-02T11:29:22Z</vt:lpwstr>
  </property>
  <property fmtid="{D5CDD505-2E9C-101B-9397-08002B2CF9AE}" pid="6" name="MSIP_Label_fd1c0902-ed92-4fed-896d-2e7725de02d4_Method">
    <vt:lpwstr>Standard</vt:lpwstr>
  </property>
  <property fmtid="{D5CDD505-2E9C-101B-9397-08002B2CF9AE}" pid="7" name="MSIP_Label_fd1c0902-ed92-4fed-896d-2e7725de02d4_Name">
    <vt:lpwstr>Anyone (not protected)</vt:lpwstr>
  </property>
  <property fmtid="{D5CDD505-2E9C-101B-9397-08002B2CF9AE}" pid="8" name="MSIP_Label_fd1c0902-ed92-4fed-896d-2e7725de02d4_SiteId">
    <vt:lpwstr>d6b0bbee-7cd9-4d60-bce6-4a67b543e2ae</vt:lpwstr>
  </property>
  <property fmtid="{D5CDD505-2E9C-101B-9397-08002B2CF9AE}" pid="9" name="MSIP_Label_fd1c0902-ed92-4fed-896d-2e7725de02d4_ActionId">
    <vt:lpwstr>d6203095-e722-4d73-a4e6-0000a6d4b06d</vt:lpwstr>
  </property>
  <property fmtid="{D5CDD505-2E9C-101B-9397-08002B2CF9AE}" pid="10" name="MSIP_Label_fd1c0902-ed92-4fed-896d-2e7725de02d4_ContentBits">
    <vt:lpwstr>2</vt:lpwstr>
  </property>
  <property fmtid="{D5CDD505-2E9C-101B-9397-08002B2CF9AE}" pid="11" name="ContentTypeId">
    <vt:lpwstr>0x01010099E8CB689BBF064F911E71EFFC1CB2A3</vt:lpwstr>
  </property>
  <property fmtid="{D5CDD505-2E9C-101B-9397-08002B2CF9AE}" pid="12" name="MSIP_Label_b1c9b508-7c6e-42bd-bedf-808292653d6c_Enabled">
    <vt:lpwstr>true</vt:lpwstr>
  </property>
  <property fmtid="{D5CDD505-2E9C-101B-9397-08002B2CF9AE}" pid="13" name="MSIP_Label_b1c9b508-7c6e-42bd-bedf-808292653d6c_SetDate">
    <vt:lpwstr>2023-09-11T09:32:32Z</vt:lpwstr>
  </property>
  <property fmtid="{D5CDD505-2E9C-101B-9397-08002B2CF9AE}" pid="14" name="MSIP_Label_b1c9b508-7c6e-42bd-bedf-808292653d6c_Method">
    <vt:lpwstr>Standard</vt:lpwstr>
  </property>
  <property fmtid="{D5CDD505-2E9C-101B-9397-08002B2CF9AE}" pid="15" name="MSIP_Label_b1c9b508-7c6e-42bd-bedf-808292653d6c_Name">
    <vt:lpwstr>b1c9b508-7c6e-42bd-bedf-808292653d6c</vt:lpwstr>
  </property>
  <property fmtid="{D5CDD505-2E9C-101B-9397-08002B2CF9AE}" pid="16" name="MSIP_Label_b1c9b508-7c6e-42bd-bedf-808292653d6c_SiteId">
    <vt:lpwstr>2882be50-2012-4d88-ac86-544124e120c8</vt:lpwstr>
  </property>
  <property fmtid="{D5CDD505-2E9C-101B-9397-08002B2CF9AE}" pid="17" name="MSIP_Label_b1c9b508-7c6e-42bd-bedf-808292653d6c_ActionId">
    <vt:lpwstr>d6d45881-babf-4617-8d76-2cf77a32963e</vt:lpwstr>
  </property>
  <property fmtid="{D5CDD505-2E9C-101B-9397-08002B2CF9AE}" pid="18" name="MSIP_Label_b1c9b508-7c6e-42bd-bedf-808292653d6c_ContentBits">
    <vt:lpwstr>3</vt:lpwstr>
  </property>
  <property fmtid="{D5CDD505-2E9C-101B-9397-08002B2CF9AE}" pid="19" name="MediaServiceImageTags">
    <vt:lpwstr/>
  </property>
</Properties>
</file>